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4" r:id="rId1"/>
    <p:sldMasterId id="2147483727" r:id="rId2"/>
  </p:sldMasterIdLst>
  <p:notesMasterIdLst>
    <p:notesMasterId r:id="rId14"/>
  </p:notesMasterIdLst>
  <p:sldIdLst>
    <p:sldId id="382" r:id="rId3"/>
    <p:sldId id="433" r:id="rId4"/>
    <p:sldId id="423" r:id="rId5"/>
    <p:sldId id="434" r:id="rId6"/>
    <p:sldId id="436" r:id="rId7"/>
    <p:sldId id="437" r:id="rId8"/>
    <p:sldId id="438" r:id="rId9"/>
    <p:sldId id="439" r:id="rId10"/>
    <p:sldId id="440" r:id="rId11"/>
    <p:sldId id="441" r:id="rId12"/>
    <p:sldId id="442"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6E6E6"/>
    <a:srgbClr val="97E6FF"/>
    <a:srgbClr val="00B1EA"/>
    <a:srgbClr val="EF7C00"/>
    <a:srgbClr val="7FD8F4"/>
    <a:srgbClr val="C00000"/>
    <a:srgbClr val="C6D325"/>
    <a:srgbClr val="005555"/>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55" autoAdjust="0"/>
    <p:restoredTop sz="56020" autoAdjust="0"/>
  </p:normalViewPr>
  <p:slideViewPr>
    <p:cSldViewPr snapToGrid="0">
      <p:cViewPr>
        <p:scale>
          <a:sx n="100" d="100"/>
          <a:sy n="100" d="100"/>
        </p:scale>
        <p:origin x="1176" y="72"/>
      </p:cViewPr>
      <p:guideLst>
        <p:guide orient="horz" pos="2160"/>
        <p:guide pos="3840"/>
      </p:guideLst>
    </p:cSldViewPr>
  </p:slideViewPr>
  <p:notesTextViewPr>
    <p:cViewPr>
      <p:scale>
        <a:sx n="3" d="2"/>
        <a:sy n="3" d="2"/>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6.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How</a:t>
            </a:r>
            <a:r>
              <a:rPr lang="de-DE" dirty="0" smtClean="0"/>
              <a:t> </a:t>
            </a:r>
            <a:r>
              <a:rPr lang="de-DE" dirty="0" err="1" smtClean="0"/>
              <a:t>does</a:t>
            </a:r>
            <a:r>
              <a:rPr lang="de-DE" dirty="0" smtClean="0"/>
              <a:t> </a:t>
            </a:r>
            <a:r>
              <a:rPr lang="de-DE" dirty="0" err="1" smtClean="0"/>
              <a:t>it</a:t>
            </a:r>
            <a:r>
              <a:rPr lang="de-DE" dirty="0" smtClean="0"/>
              <a:t> </a:t>
            </a:r>
            <a:r>
              <a:rPr lang="de-DE" dirty="0" err="1" smtClean="0"/>
              <a:t>change</a:t>
            </a:r>
            <a:r>
              <a:rPr lang="de-DE" dirty="0" smtClean="0"/>
              <a:t> </a:t>
            </a:r>
            <a:r>
              <a:rPr lang="de-DE" dirty="0" err="1" smtClean="0"/>
              <a:t>with</a:t>
            </a:r>
            <a:r>
              <a:rPr lang="de-DE" dirty="0" smtClean="0"/>
              <a:t> </a:t>
            </a:r>
            <a:r>
              <a:rPr lang="de-DE" dirty="0" err="1" smtClean="0"/>
              <a:t>magnetic</a:t>
            </a:r>
            <a:r>
              <a:rPr lang="de-DE" dirty="0" smtClean="0"/>
              <a:t> </a:t>
            </a:r>
            <a:r>
              <a:rPr lang="de-DE" dirty="0" err="1" smtClean="0"/>
              <a:t>flexibility</a:t>
            </a:r>
            <a:endParaRPr lang="de-DE" dirty="0" smtClean="0"/>
          </a:p>
          <a:p>
            <a:r>
              <a:rPr lang="de-DE" dirty="0" smtClean="0"/>
              <a:t>D</a:t>
            </a:r>
            <a:r>
              <a:rPr lang="de-DE" baseline="0" dirty="0" smtClean="0"/>
              <a:t> film </a:t>
            </a:r>
            <a:r>
              <a:rPr lang="de-DE" baseline="0" dirty="0" err="1" smtClean="0"/>
              <a:t>cooling</a:t>
            </a:r>
            <a:r>
              <a:rPr lang="de-DE" baseline="0" dirty="0" smtClean="0"/>
              <a:t> – Focus on </a:t>
            </a:r>
            <a:r>
              <a:rPr lang="de-DE" baseline="0" dirty="0" err="1" smtClean="0"/>
              <a:t>function</a:t>
            </a:r>
            <a:r>
              <a:rPr lang="de-DE" baseline="0" dirty="0" smtClean="0"/>
              <a:t>! </a:t>
            </a:r>
            <a:r>
              <a:rPr lang="de-DE" baseline="0" dirty="0" err="1" smtClean="0"/>
              <a:t>Ionization</a:t>
            </a:r>
            <a:r>
              <a:rPr lang="de-DE" baseline="0" dirty="0" smtClean="0"/>
              <a:t> front </a:t>
            </a:r>
            <a:r>
              <a:rPr lang="de-DE" baseline="0" dirty="0" err="1" smtClean="0"/>
              <a:t>control</a:t>
            </a:r>
            <a:endParaRPr lang="de-DE" baseline="0" dirty="0" smtClean="0"/>
          </a:p>
          <a:p>
            <a:endParaRPr lang="de-DE" baseline="0" dirty="0" smtClean="0"/>
          </a:p>
          <a:p>
            <a:r>
              <a:rPr lang="de-DE" baseline="0" dirty="0" smtClean="0"/>
              <a:t>Matt: 	</a:t>
            </a:r>
            <a:r>
              <a:rPr lang="de-DE" baseline="0" dirty="0" err="1" smtClean="0"/>
              <a:t>How</a:t>
            </a:r>
            <a:r>
              <a:rPr lang="de-DE" baseline="0" dirty="0" smtClean="0"/>
              <a:t> do I </a:t>
            </a:r>
            <a:r>
              <a:rPr lang="de-DE" baseline="0" dirty="0" err="1" smtClean="0"/>
              <a:t>lower</a:t>
            </a:r>
            <a:r>
              <a:rPr lang="de-DE" baseline="0" dirty="0" smtClean="0"/>
              <a:t> </a:t>
            </a:r>
            <a:r>
              <a:rPr lang="de-DE" baseline="0" dirty="0" err="1" smtClean="0"/>
              <a:t>T_e</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plasma</a:t>
            </a:r>
            <a:r>
              <a:rPr lang="de-DE" baseline="0" dirty="0" smtClean="0"/>
              <a:t>?</a:t>
            </a:r>
          </a:p>
          <a:p>
            <a:r>
              <a:rPr lang="de-DE" baseline="0" dirty="0" smtClean="0"/>
              <a:t>	Radial </a:t>
            </a:r>
            <a:r>
              <a:rPr lang="de-DE" baseline="0" dirty="0" err="1" smtClean="0"/>
              <a:t>transport</a:t>
            </a:r>
            <a:r>
              <a:rPr lang="de-DE" baseline="0" dirty="0" smtClean="0"/>
              <a:t> </a:t>
            </a:r>
            <a:r>
              <a:rPr lang="de-DE" baseline="0" dirty="0" err="1" smtClean="0"/>
              <a:t>dominates</a:t>
            </a:r>
            <a:r>
              <a:rPr lang="de-DE" baseline="0" dirty="0" smtClean="0"/>
              <a:t> </a:t>
            </a:r>
            <a:r>
              <a:rPr lang="de-DE" baseline="0" dirty="0" err="1" smtClean="0"/>
              <a:t>when</a:t>
            </a:r>
            <a:r>
              <a:rPr lang="de-DE" baseline="0" dirty="0" smtClean="0"/>
              <a:t>?</a:t>
            </a:r>
          </a:p>
          <a:p>
            <a:r>
              <a:rPr lang="de-DE" baseline="0" dirty="0" smtClean="0"/>
              <a:t>	</a:t>
            </a:r>
            <a:r>
              <a:rPr lang="de-DE" baseline="0" dirty="0" err="1" smtClean="0"/>
              <a:t>What</a:t>
            </a:r>
            <a:r>
              <a:rPr lang="de-DE" baseline="0" dirty="0" smtClean="0"/>
              <a:t> </a:t>
            </a:r>
            <a:r>
              <a:rPr lang="de-DE" baseline="0" dirty="0" err="1" smtClean="0"/>
              <a:t>drives</a:t>
            </a:r>
            <a:r>
              <a:rPr lang="de-DE" baseline="0" dirty="0" smtClean="0"/>
              <a:t> </a:t>
            </a:r>
            <a:r>
              <a:rPr lang="de-DE" baseline="0" dirty="0" err="1" smtClean="0"/>
              <a:t>my</a:t>
            </a:r>
            <a:r>
              <a:rPr lang="de-DE" baseline="0" dirty="0" smtClean="0"/>
              <a:t> SOL </a:t>
            </a:r>
            <a:r>
              <a:rPr lang="de-DE" baseline="0" dirty="0" err="1" smtClean="0"/>
              <a:t>width</a:t>
            </a:r>
            <a:r>
              <a:rPr lang="de-DE" baseline="0" dirty="0" smtClean="0"/>
              <a:t>?</a:t>
            </a:r>
            <a:endParaRPr lang="de-DE" dirty="0" smtClean="0"/>
          </a:p>
          <a:p>
            <a:endParaRPr lang="de-DE" dirty="0" smtClean="0"/>
          </a:p>
          <a:p>
            <a:r>
              <a:rPr lang="de-DE" dirty="0" smtClean="0"/>
              <a:t>Victoria: </a:t>
            </a:r>
            <a:r>
              <a:rPr lang="en-US" sz="1200" kern="1200" dirty="0" smtClean="0">
                <a:solidFill>
                  <a:schemeClr val="tx1"/>
                </a:solidFill>
                <a:effectLst/>
                <a:latin typeface="+mn-lt"/>
                <a:ea typeface="+mn-ea"/>
                <a:cs typeface="+mn-cs"/>
              </a:rPr>
              <a:t>I think the issue here is the visualization we get in the cartoon versus what will likely be the reality (a much more open baffling)</a:t>
            </a:r>
          </a:p>
          <a:p>
            <a:r>
              <a:rPr lang="en-US" sz="1200" kern="1200" dirty="0" smtClean="0">
                <a:solidFill>
                  <a:schemeClr val="tx1"/>
                </a:solidFill>
                <a:effectLst/>
                <a:latin typeface="+mn-lt"/>
                <a:ea typeface="+mn-ea"/>
                <a:cs typeface="+mn-cs"/>
              </a:rPr>
              <a:t>Thierr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o in reality we'd expect a much wider SOL width than I drew in the slides? Like matt mentioned, that the 6sigma line might even not be inside the vessel?</a:t>
            </a:r>
          </a:p>
          <a:p>
            <a:r>
              <a:rPr lang="en-US" sz="1200" kern="1200" dirty="0" smtClean="0">
                <a:solidFill>
                  <a:schemeClr val="tx1"/>
                </a:solidFill>
                <a:effectLst/>
                <a:latin typeface="+mn-lt"/>
                <a:ea typeface="+mn-ea"/>
                <a:cs typeface="+mn-cs"/>
              </a:rPr>
              <a:t>Matt: Yes, if you define the 6 sigma contour as "the point where the particle/heat flux is 3e-6 of the peak value" then the 6 sigma contour will be far beyond the vacuum vessel. You can reduce the number of </a:t>
            </a:r>
            <a:r>
              <a:rPr lang="en-US" sz="1200" kern="1200" dirty="0" err="1" smtClean="0">
                <a:solidFill>
                  <a:schemeClr val="tx1"/>
                </a:solidFill>
                <a:effectLst/>
                <a:latin typeface="+mn-lt"/>
                <a:ea typeface="+mn-ea"/>
                <a:cs typeface="+mn-cs"/>
              </a:rPr>
              <a:t>sigmas</a:t>
            </a:r>
            <a:r>
              <a:rPr lang="en-US" sz="1200" kern="1200" dirty="0" smtClean="0">
                <a:solidFill>
                  <a:schemeClr val="tx1"/>
                </a:solidFill>
                <a:effectLst/>
                <a:latin typeface="+mn-lt"/>
                <a:ea typeface="+mn-ea"/>
                <a:cs typeface="+mn-cs"/>
              </a:rPr>
              <a:t> to put the baffles closer, but in the end what matters is that the heat flux they receive stays below their engineering limit. I think from it makes more sense for the design approach to directly relate the geometry of the structure to the engineering limitations, instead of specifying the geometry in terms of sigma levels. I think by using sigma levels you end up making the spacing of the baffles far larger than is actually required by material limitations.</a:t>
            </a:r>
          </a:p>
          <a:p>
            <a:r>
              <a:rPr lang="en-US" sz="1200" kern="1200" dirty="0" smtClean="0">
                <a:solidFill>
                  <a:schemeClr val="tx1"/>
                </a:solidFill>
                <a:effectLst/>
                <a:latin typeface="+mn-lt"/>
                <a:ea typeface="+mn-ea"/>
                <a:cs typeface="+mn-cs"/>
              </a:rPr>
              <a:t>Thierry: Would you believe the 6sigma contour will be far outside the vessel, even if I neutralize all the particles in the PFR and D-SOL?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his should be a function of my toroidal extend of my divertor right? In a helical continuous divertor, plasma couldn't go this far out because I continuously neutralize it and this would decrease my 6 sigma width.</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Generally for the design approach, it's not a good approach to design </a:t>
            </a:r>
            <a:r>
              <a:rPr lang="en-US" sz="1200" kern="1200" dirty="0" err="1" smtClean="0">
                <a:solidFill>
                  <a:schemeClr val="tx1"/>
                </a:solidFill>
                <a:effectLst/>
                <a:latin typeface="+mn-lt"/>
                <a:ea typeface="+mn-ea"/>
                <a:cs typeface="+mn-cs"/>
              </a:rPr>
              <a:t>arround</a:t>
            </a:r>
            <a:r>
              <a:rPr lang="en-US" sz="1200" kern="1200" dirty="0" smtClean="0">
                <a:solidFill>
                  <a:schemeClr val="tx1"/>
                </a:solidFill>
                <a:effectLst/>
                <a:latin typeface="+mn-lt"/>
                <a:ea typeface="+mn-ea"/>
                <a:cs typeface="+mn-cs"/>
              </a:rPr>
              <a:t> limitations. Best practices in engineering and design science all focus on functionality and quantifying the functionality with statistical metrics. The material limitations come into play in the "control" phase of your design phase, but not in the actual "design" par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7612913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8"/>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6"/>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Short title goes here</a:t>
            </a:r>
            <a:endParaRPr lang="de-DE" dirty="0"/>
          </a:p>
        </p:txBody>
      </p:sp>
      <p:sp>
        <p:nvSpPr>
          <p:cNvPr id="4" name="Fußzeilenplatzhalter 3"/>
          <p:cNvSpPr>
            <a:spLocks noGrp="1"/>
          </p:cNvSpPr>
          <p:nvPr>
            <p:ph type="ftr" sz="quarter" idx="11"/>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4" y="3744000"/>
            <a:ext cx="7832233" cy="2274963"/>
          </a:xfrm>
        </p:spPr>
        <p:txBody>
          <a:bodyPr anchor="b" anchorCtr="0"/>
          <a:lstStyle>
            <a:lvl1pPr marL="0" indent="0" algn="l">
              <a:spcBef>
                <a:spcPts val="2300"/>
              </a:spcBef>
              <a:buNone/>
              <a:defRPr sz="1900" b="0" spc="0" baseline="0">
                <a:solidFill>
                  <a:schemeClr val="bg1"/>
                </a:solidFill>
              </a:defRPr>
            </a:lvl1pPr>
            <a:lvl2pPr marL="0" indent="251987" algn="l">
              <a:lnSpc>
                <a:spcPts val="1600"/>
              </a:lnSpc>
              <a:spcBef>
                <a:spcPts val="300"/>
              </a:spcBef>
              <a:buSzPct val="110000"/>
              <a:buFont typeface=".SF NS Symbols Regular"/>
              <a:buChar char="↘"/>
              <a:defRPr sz="1300" i="1" baseline="0">
                <a:solidFill>
                  <a:schemeClr val="bg1"/>
                </a:solidFill>
              </a:defRPr>
            </a:lvl2pPr>
            <a:lvl3pPr marL="914353" indent="0" algn="ctr">
              <a:buNone/>
              <a:defRPr sz="1800"/>
            </a:lvl3pPr>
            <a:lvl4pPr marL="1371529" indent="0" algn="ctr">
              <a:buNone/>
              <a:defRPr sz="1600"/>
            </a:lvl4pPr>
            <a:lvl5pPr marL="1828706" indent="0" algn="ctr">
              <a:buNone/>
              <a:defRPr sz="1600"/>
            </a:lvl5pPr>
            <a:lvl6pPr marL="2285882" indent="0" algn="ctr">
              <a:buNone/>
              <a:defRPr sz="1600"/>
            </a:lvl6pPr>
            <a:lvl7pPr marL="2743059" indent="0" algn="ctr">
              <a:buNone/>
              <a:defRPr sz="1600"/>
            </a:lvl7pPr>
            <a:lvl8pPr marL="3200235" indent="0" algn="ctr">
              <a:buNone/>
              <a:defRPr sz="1600"/>
            </a:lvl8pPr>
            <a:lvl9pPr marL="3657412"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7"/>
            <a:ext cx="1700546" cy="524971"/>
          </a:xfrm>
          <a:prstGeom prst="rect">
            <a:avLst/>
          </a:prstGeom>
        </p:spPr>
      </p:pic>
      <p:sp>
        <p:nvSpPr>
          <p:cNvPr id="5" name="Titel 4"/>
          <p:cNvSpPr>
            <a:spLocks noGrp="1"/>
          </p:cNvSpPr>
          <p:nvPr>
            <p:ph type="title"/>
          </p:nvPr>
        </p:nvSpPr>
        <p:spPr>
          <a:xfrm>
            <a:off x="1145840"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8"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9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4"/>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hort title goes here</a:t>
            </a:r>
            <a:endParaRPr lang="de-DE" dirty="0"/>
          </a:p>
        </p:txBody>
      </p:sp>
      <p:sp>
        <p:nvSpPr>
          <p:cNvPr id="10" name="Fußzeilenplatzhalter 9"/>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Short title goes here</a:t>
            </a:r>
            <a:endParaRPr lang="de-DE" dirty="0"/>
          </a:p>
        </p:txBody>
      </p:sp>
      <p:sp>
        <p:nvSpPr>
          <p:cNvPr id="7" name="Fußzeilenplatzhalter 6"/>
          <p:cNvSpPr>
            <a:spLocks noGrp="1"/>
          </p:cNvSpPr>
          <p:nvPr>
            <p:ph type="ftr" sz="quarter" idx="11"/>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4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9"/>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Short title goes here</a:t>
            </a:r>
            <a:endParaRPr lang="de-DE" dirty="0"/>
          </a:p>
        </p:txBody>
      </p:sp>
      <p:sp>
        <p:nvSpPr>
          <p:cNvPr id="3" name="Fußzeilenplatzhalter 2"/>
          <p:cNvSpPr>
            <a:spLocks noGrp="1"/>
          </p:cNvSpPr>
          <p:nvPr>
            <p:ph type="ftr" sz="quarter" idx="11"/>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7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9"/>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vmlDrawing" Target="../drawings/vmlDrawing7.vml"/><Relationship Id="rId1" Type="http://schemas.openxmlformats.org/officeDocument/2006/relationships/theme" Target="../theme/theme2.xml"/><Relationship Id="rId6" Type="http://schemas.openxmlformats.org/officeDocument/2006/relationships/oleObject" Target="../embeddings/oleObject4.bin"/><Relationship Id="rId5" Type="http://schemas.openxmlformats.org/officeDocument/2006/relationships/image" Target="../media/image2.emf"/><Relationship Id="rId4"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5" y="170924"/>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1"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7"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321" algn="r"/>
                <a:tab pos="10226148" algn="r"/>
              </a:tabLst>
            </a:pPr>
            <a:r>
              <a:rPr lang="de-DE" smtClean="0"/>
              <a:t>Max-Planck-Institut für Plasmaphysik | Thierry Kremeyer | 22.01.24</a:t>
            </a:r>
            <a:endParaRPr lang="de-DE" dirty="0"/>
          </a:p>
        </p:txBody>
      </p:sp>
      <p:sp>
        <p:nvSpPr>
          <p:cNvPr id="13" name="Datumsplatzhalter 12"/>
          <p:cNvSpPr>
            <a:spLocks noGrp="1"/>
          </p:cNvSpPr>
          <p:nvPr>
            <p:ph type="dt" sz="half" idx="2"/>
          </p:nvPr>
        </p:nvSpPr>
        <p:spPr>
          <a:xfrm>
            <a:off x="947740"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hort title goes he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6"/>
            <a:ext cx="10801350" cy="4567237"/>
          </a:xfrm>
          <a:prstGeom prst="rect">
            <a:avLst/>
          </a:prstGeom>
        </p:spPr>
        <p:txBody>
          <a:bodyPr vert="horz" lIns="0" tIns="45720" rIns="0" bIns="45720" rtlCol="0">
            <a:normAutofit/>
          </a:bodyPr>
          <a:lstStyle/>
          <a:p>
            <a:pPr marL="0" marR="0" lvl="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79" marR="0" lvl="2"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79" marR="0" lvl="3"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70" marR="0" lvl="4"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17" marR="0" lvl="5" indent="-285735" algn="l" defTabSz="914353"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889" algn="l" defTabSz="914353"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353"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dt="0"/>
  <p:txStyles>
    <p:titleStyle>
      <a:lvl1pPr algn="l" defTabSz="914353"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353"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79"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70" marR="0" indent="-179379" algn="l" defTabSz="914353"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17" marR="0" indent="-285735" algn="l" defTabSz="914353"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889" algn="l" defTabSz="914353"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353"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353"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353" rtl="0" eaLnBrk="1" latinLnBrk="0" hangingPunct="1">
        <a:defRPr sz="1800" kern="1200">
          <a:solidFill>
            <a:schemeClr val="tx1"/>
          </a:solidFill>
          <a:latin typeface="+mn-lt"/>
          <a:ea typeface="+mn-ea"/>
          <a:cs typeface="+mn-cs"/>
        </a:defRPr>
      </a:lvl1pPr>
      <a:lvl2pPr marL="457176" algn="l" defTabSz="914353" rtl="0" eaLnBrk="1" latinLnBrk="0" hangingPunct="1">
        <a:defRPr sz="1800" kern="1200">
          <a:solidFill>
            <a:schemeClr val="tx1"/>
          </a:solidFill>
          <a:latin typeface="+mn-lt"/>
          <a:ea typeface="+mn-ea"/>
          <a:cs typeface="+mn-cs"/>
        </a:defRPr>
      </a:lvl2pPr>
      <a:lvl3pPr marL="914353" algn="l" defTabSz="914353" rtl="0" eaLnBrk="1" latinLnBrk="0" hangingPunct="1">
        <a:defRPr sz="1800" kern="1200">
          <a:solidFill>
            <a:schemeClr val="tx1"/>
          </a:solidFill>
          <a:latin typeface="+mn-lt"/>
          <a:ea typeface="+mn-ea"/>
          <a:cs typeface="+mn-cs"/>
        </a:defRPr>
      </a:lvl3pPr>
      <a:lvl4pPr marL="1371529" algn="l" defTabSz="914353" rtl="0" eaLnBrk="1" latinLnBrk="0" hangingPunct="1">
        <a:defRPr sz="1800" kern="1200">
          <a:solidFill>
            <a:schemeClr val="tx1"/>
          </a:solidFill>
          <a:latin typeface="+mn-lt"/>
          <a:ea typeface="+mn-ea"/>
          <a:cs typeface="+mn-cs"/>
        </a:defRPr>
      </a:lvl4pPr>
      <a:lvl5pPr marL="1828706" algn="l" defTabSz="914353" rtl="0" eaLnBrk="1" latinLnBrk="0" hangingPunct="1">
        <a:defRPr sz="1800" kern="1200">
          <a:solidFill>
            <a:schemeClr val="tx1"/>
          </a:solidFill>
          <a:latin typeface="+mn-lt"/>
          <a:ea typeface="+mn-ea"/>
          <a:cs typeface="+mn-cs"/>
        </a:defRPr>
      </a:lvl5pPr>
      <a:lvl6pPr marL="2285882" algn="l" defTabSz="914353" rtl="0" eaLnBrk="1" latinLnBrk="0" hangingPunct="1">
        <a:defRPr sz="1800" kern="1200">
          <a:solidFill>
            <a:schemeClr val="tx1"/>
          </a:solidFill>
          <a:latin typeface="+mn-lt"/>
          <a:ea typeface="+mn-ea"/>
          <a:cs typeface="+mn-cs"/>
        </a:defRPr>
      </a:lvl6pPr>
      <a:lvl7pPr marL="2743059" algn="l" defTabSz="914353" rtl="0" eaLnBrk="1" latinLnBrk="0" hangingPunct="1">
        <a:defRPr sz="1800" kern="1200">
          <a:solidFill>
            <a:schemeClr val="tx1"/>
          </a:solidFill>
          <a:latin typeface="+mn-lt"/>
          <a:ea typeface="+mn-ea"/>
          <a:cs typeface="+mn-cs"/>
        </a:defRPr>
      </a:lvl7pPr>
      <a:lvl8pPr marL="3200235" algn="l" defTabSz="914353" rtl="0" eaLnBrk="1" latinLnBrk="0" hangingPunct="1">
        <a:defRPr sz="1800" kern="1200">
          <a:solidFill>
            <a:schemeClr val="tx1"/>
          </a:solidFill>
          <a:latin typeface="+mn-lt"/>
          <a:ea typeface="+mn-ea"/>
          <a:cs typeface="+mn-cs"/>
        </a:defRPr>
      </a:lvl8pPr>
      <a:lvl9pPr marL="3657412" algn="l" defTabSz="91435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userDrawn="1">
          <p15:clr>
            <a:srgbClr val="F26B43"/>
          </p15:clr>
        </p15:guide>
        <p15:guide id="9" pos="143" userDrawn="1">
          <p15:clr>
            <a:srgbClr val="F26B43"/>
          </p15:clr>
        </p15:guide>
        <p15:guide id="11" orient="horz" pos="503" userDrawn="1">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1366925" y="170924"/>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3"/>
            </p:custDataLst>
            <p:extLst>
              <p:ext uri="{D42A27DB-BD31-4B8C-83A1-F6EECF244321}">
                <p14:modId xmlns:p14="http://schemas.microsoft.com/office/powerpoint/2010/main" val="2293786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151"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7" y="6489699"/>
            <a:ext cx="10477499" cy="142876"/>
          </a:xfrm>
          <a:prstGeom prst="rect">
            <a:avLst/>
          </a:prstGeom>
        </p:spPr>
        <p:txBody>
          <a:bodyPr vert="horz" wrap="none" lIns="0" tIns="0" rIns="0" bIns="0" rtlCol="0" anchor="b" anchorCtr="0">
            <a:normAutofit/>
          </a:bodyPr>
          <a:lstStyle>
            <a:lvl1pPr algn="r">
              <a:defRPr sz="300" kern="600" cap="all" spc="45" baseline="0">
                <a:solidFill>
                  <a:schemeClr val="tx1">
                    <a:tint val="75000"/>
                  </a:schemeClr>
                </a:solidFill>
              </a:defRPr>
            </a:lvl1pPr>
          </a:lstStyle>
          <a:p>
            <a:pPr algn="l">
              <a:tabLst>
                <a:tab pos="4893778" algn="r"/>
                <a:tab pos="5119474" algn="r"/>
              </a:tabLst>
            </a:pPr>
            <a:r>
              <a:rPr lang="de-DE" smtClean="0"/>
              <a:t>Max-Planck-Institut für Plasmaphysik | Thierry Kremeyer | 22.01.24</a:t>
            </a:r>
            <a:endParaRPr lang="de-DE" dirty="0"/>
          </a:p>
        </p:txBody>
      </p:sp>
      <p:sp>
        <p:nvSpPr>
          <p:cNvPr id="13" name="Datumsplatzhalter 12"/>
          <p:cNvSpPr>
            <a:spLocks noGrp="1"/>
          </p:cNvSpPr>
          <p:nvPr>
            <p:ph type="dt" sz="half" idx="2"/>
          </p:nvPr>
        </p:nvSpPr>
        <p:spPr>
          <a:xfrm>
            <a:off x="947740" y="6489700"/>
            <a:ext cx="10225087" cy="142874"/>
          </a:xfrm>
          <a:prstGeom prst="rect">
            <a:avLst/>
          </a:prstGeom>
        </p:spPr>
        <p:txBody>
          <a:bodyPr vert="horz" lIns="0" tIns="0" rIns="0" bIns="0" rtlCol="0" anchor="b" anchorCtr="0"/>
          <a:lstStyle>
            <a:lvl1pPr algn="r">
              <a:defRPr lang="de-DE" sz="300" kern="600" cap="all" spc="45" baseline="0" smtClean="0">
                <a:solidFill>
                  <a:schemeClr val="tx1">
                    <a:tint val="75000"/>
                  </a:schemeClr>
                </a:solidFill>
                <a:latin typeface="+mn-lt"/>
                <a:ea typeface="+mn-ea"/>
                <a:cs typeface="+mn-cs"/>
              </a:defRPr>
            </a:lvl1pPr>
          </a:lstStyle>
          <a:p>
            <a:r>
              <a:rPr lang="de-DE" smtClean="0"/>
              <a:t>Short title goes her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300" kern="600" cap="all" spc="45"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6"/>
            <a:ext cx="10801350" cy="4567237"/>
          </a:xfrm>
          <a:prstGeom prst="rect">
            <a:avLst/>
          </a:prstGeom>
        </p:spPr>
        <p:txBody>
          <a:bodyPr vert="horz" lIns="0" tIns="45720" rIns="0" bIns="45720" rtlCol="0">
            <a:normAutofit/>
          </a:bodyPr>
          <a:lstStyle/>
          <a:p>
            <a:pPr marL="0" marR="0" lvl="0"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a:pPr>
            <a:r>
              <a:rPr kumimoji="0" lang="de-DE" sz="901" b="1" i="0" u="none" strike="noStrike" kern="600" cap="none" spc="20" normalizeH="0" baseline="0" noProof="0" dirty="0" smtClean="0">
                <a:ln>
                  <a:noFill/>
                </a:ln>
                <a:solidFill>
                  <a:srgbClr val="005555"/>
                </a:solidFill>
                <a:effectLst/>
                <a:uLnTx/>
                <a:uFillTx/>
                <a:latin typeface="+mn-lt"/>
                <a:ea typeface="+mn-ea"/>
                <a:cs typeface="+mn-cs"/>
              </a:rPr>
              <a:t>Ebene 1: Headlines</a:t>
            </a:r>
          </a:p>
          <a:p>
            <a:pPr marL="0" marR="0" lvl="1"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2: Fließtext</a:t>
            </a:r>
          </a:p>
          <a:p>
            <a:pPr marL="89802" marR="0" lvl="2"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a:pPr>
            <a:r>
              <a:rPr kumimoji="0" lang="de-DE" sz="901" b="1" i="0" u="none" strike="noStrike" kern="400" cap="none" spc="20" normalizeH="0" baseline="0" noProof="0" dirty="0" smtClean="0">
                <a:ln>
                  <a:noFill/>
                </a:ln>
                <a:solidFill>
                  <a:srgbClr val="29485D"/>
                </a:solidFill>
                <a:effectLst/>
                <a:uLnTx/>
                <a:uFillTx/>
                <a:latin typeface="+mn-lt"/>
                <a:ea typeface="+mn-ea"/>
                <a:cs typeface="+mn-cs"/>
              </a:rPr>
              <a:t>Ebene 3: Stichpunkte</a:t>
            </a:r>
          </a:p>
          <a:p>
            <a:pPr marL="89802" marR="0" lvl="3"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4: Stichpunkte hervorgehoben</a:t>
            </a:r>
          </a:p>
          <a:p>
            <a:pPr marL="178808" marR="0" lvl="4"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5: Stichpunkte eingerückt</a:t>
            </a:r>
          </a:p>
          <a:p>
            <a:pPr marL="323262" marR="0" lvl="5" indent="-143046" algn="l" defTabSz="457749" rtl="0" eaLnBrk="1" fontAlgn="auto" latinLnBrk="0" hangingPunct="1">
              <a:lnSpc>
                <a:spcPct val="100000"/>
              </a:lnSpc>
              <a:spcBef>
                <a:spcPts val="150"/>
              </a:spcBef>
              <a:spcAft>
                <a:spcPts val="0"/>
              </a:spcAft>
              <a:buClr>
                <a:srgbClr val="000000"/>
              </a:buClr>
              <a:buSzPct val="110000"/>
              <a:buFont typeface="Symbol" panose="05050102010706020507" pitchFamily="18" charset="2"/>
              <a:buChar char=""/>
              <a:tabLst/>
              <a:defRPr/>
            </a:pPr>
            <a:r>
              <a:rPr kumimoji="0" lang="de-DE" sz="901" b="0" i="0" u="none" strike="noStrike" kern="600" cap="none" spc="20" normalizeH="0" baseline="0" noProof="0" dirty="0" smtClean="0">
                <a:ln>
                  <a:noFill/>
                </a:ln>
                <a:solidFill>
                  <a:srgbClr val="000000"/>
                </a:solidFill>
                <a:effectLst/>
                <a:uLnTx/>
                <a:uFillTx/>
                <a:latin typeface="+mn-lt"/>
                <a:ea typeface="+mn-ea"/>
                <a:cs typeface="+mn-cs"/>
              </a:rPr>
              <a:t>Ebene 6: Stichpunkte weiter eingerückt</a:t>
            </a:r>
          </a:p>
          <a:p>
            <a:pPr marL="0" marR="0" lvl="6" indent="108080" algn="l" defTabSz="457749" rtl="0" eaLnBrk="1" fontAlgn="auto" latinLnBrk="0" hangingPunct="1">
              <a:lnSpc>
                <a:spcPct val="100000"/>
              </a:lnSpc>
              <a:spcBef>
                <a:spcPts val="300"/>
              </a:spcBef>
              <a:spcAft>
                <a:spcPts val="0"/>
              </a:spcAft>
              <a:buClr>
                <a:srgbClr val="005555"/>
              </a:buClr>
              <a:buSzTx/>
              <a:buFont typeface="Wingdings 3" panose="05040102010807070707" pitchFamily="18" charset="2"/>
              <a:buChar char=""/>
              <a:tabLst/>
              <a:defRPr/>
            </a:pPr>
            <a:r>
              <a:rPr kumimoji="0" lang="de-DE" sz="751" b="0" i="1" u="none" strike="noStrike" kern="600" cap="none" spc="20" normalizeH="0" baseline="0" noProof="0" dirty="0" smtClean="0">
                <a:ln>
                  <a:noFill/>
                </a:ln>
                <a:solidFill>
                  <a:srgbClr val="005555"/>
                </a:solidFill>
                <a:effectLst/>
                <a:uLnTx/>
                <a:uFillTx/>
                <a:latin typeface="+mn-lt"/>
                <a:ea typeface="+mn-ea"/>
                <a:cs typeface="+mn-cs"/>
              </a:rPr>
              <a:t>Ebene 7: Zusatzinfo</a:t>
            </a:r>
          </a:p>
          <a:p>
            <a:pPr marL="0" marR="0" lvl="7" indent="0" algn="l" defTabSz="457749" rtl="0" eaLnBrk="1" fontAlgn="auto" latinLnBrk="0" hangingPunct="1">
              <a:lnSpc>
                <a:spcPct val="100000"/>
              </a:lnSpc>
              <a:spcBef>
                <a:spcPts val="263"/>
              </a:spcBef>
              <a:spcAft>
                <a:spcPts val="0"/>
              </a:spcAft>
              <a:buClrTx/>
              <a:buSzPct val="110000"/>
              <a:buFont typeface=".SF NS Symbols Regular"/>
              <a:buNone/>
              <a:tabLst/>
              <a:defRPr/>
            </a:pPr>
            <a:r>
              <a:rPr kumimoji="0" lang="de-DE" sz="501" b="0" i="1" u="none" strike="noStrike" kern="600" cap="none" spc="6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3717289083"/>
      </p:ext>
    </p:extLst>
  </p:cSld>
  <p:clrMap bg1="lt1" tx1="dk1" bg2="lt2" tx2="dk2" accent1="accent1" accent2="accent2" accent3="accent3" accent4="accent4" accent5="accent5" accent6="accent6" hlink="hlink" folHlink="folHlink"/>
  <p:hf hdr="0" dt="0"/>
  <p:txStyles>
    <p:titleStyle>
      <a:lvl1pPr algn="l" defTabSz="457749" rtl="0" eaLnBrk="1" latinLnBrk="0" hangingPunct="1">
        <a:lnSpc>
          <a:spcPts val="1402"/>
        </a:lnSpc>
        <a:spcBef>
          <a:spcPct val="0"/>
        </a:spcBef>
        <a:spcAft>
          <a:spcPts val="901"/>
        </a:spcAft>
        <a:buNone/>
        <a:defRPr sz="1252" b="1" kern="600" cap="none" spc="0" baseline="0">
          <a:solidFill>
            <a:srgbClr val="005555"/>
          </a:solidFill>
          <a:latin typeface="+mj-lt"/>
          <a:ea typeface="+mj-ea"/>
          <a:cs typeface="+mj-cs"/>
        </a:defRPr>
      </a:lvl1pPr>
    </p:titleStyle>
    <p:bodyStyle>
      <a:lvl1pPr marL="0" marR="0"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lang="de-DE" sz="901" b="1" i="0" kern="600" spc="20" baseline="0" dirty="0" smtClean="0">
          <a:solidFill>
            <a:srgbClr val="005555"/>
          </a:solidFill>
          <a:latin typeface="+mn-lt"/>
          <a:ea typeface="+mn-ea"/>
          <a:cs typeface="+mn-cs"/>
        </a:defRPr>
      </a:lvl1pPr>
      <a:lvl2pPr marL="0" marR="0" indent="0" algn="l" defTabSz="457749" rtl="0" eaLnBrk="1" fontAlgn="auto" latinLnBrk="0" hangingPunct="1">
        <a:lnSpc>
          <a:spcPct val="120000"/>
        </a:lnSpc>
        <a:spcBef>
          <a:spcPts val="300"/>
        </a:spcBef>
        <a:spcAft>
          <a:spcPts val="0"/>
        </a:spcAft>
        <a:buClrTx/>
        <a:buSzTx/>
        <a:buFont typeface="Arial" panose="020B0604020202020204" pitchFamily="34" charset="0"/>
        <a:buNone/>
        <a:tabLst/>
        <a:defRPr sz="901" kern="600" spc="20" baseline="0">
          <a:solidFill>
            <a:schemeClr val="tx1"/>
          </a:solidFill>
          <a:latin typeface="+mn-lt"/>
          <a:ea typeface="+mn-ea"/>
          <a:cs typeface="+mn-cs"/>
        </a:defRPr>
      </a:lvl2pPr>
      <a:lvl3pPr marL="89802" marR="0"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sz="901" b="1" kern="400" spc="20" baseline="0">
          <a:solidFill>
            <a:schemeClr val="accent3"/>
          </a:solidFill>
          <a:latin typeface="+mn-lt"/>
          <a:ea typeface="+mn-ea"/>
          <a:cs typeface="+mn-cs"/>
        </a:defRPr>
      </a:lvl3pPr>
      <a:lvl4pPr marL="89802" marR="0"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sz="901" kern="600" spc="20" baseline="0">
          <a:solidFill>
            <a:schemeClr val="tx1"/>
          </a:solidFill>
          <a:latin typeface="+mn-lt"/>
          <a:ea typeface="+mn-ea"/>
          <a:cs typeface="+mn-cs"/>
        </a:defRPr>
      </a:lvl4pPr>
      <a:lvl5pPr marL="178808" marR="0" indent="-89802" algn="l" defTabSz="457749" rtl="0" eaLnBrk="1" fontAlgn="auto" latinLnBrk="0" hangingPunct="1">
        <a:lnSpc>
          <a:spcPct val="120000"/>
        </a:lnSpc>
        <a:spcBef>
          <a:spcPts val="300"/>
        </a:spcBef>
        <a:spcAft>
          <a:spcPts val="0"/>
        </a:spcAft>
        <a:buClrTx/>
        <a:buSzTx/>
        <a:buFont typeface="Arial" panose="020B0604020202020204" pitchFamily="34" charset="0"/>
        <a:buChar char="•"/>
        <a:tabLst/>
        <a:defRPr lang="de-DE" sz="901" b="0" i="0" kern="600" spc="20" baseline="0" dirty="0" smtClean="0">
          <a:solidFill>
            <a:schemeClr val="tx1"/>
          </a:solidFill>
          <a:latin typeface="+mn-lt"/>
          <a:ea typeface="+mn-ea"/>
          <a:cs typeface="+mn-cs"/>
        </a:defRPr>
      </a:lvl5pPr>
      <a:lvl6pPr marL="323262" marR="0" indent="-143046" algn="l" defTabSz="457749" rtl="0" eaLnBrk="1" fontAlgn="auto" latinLnBrk="0" hangingPunct="1">
        <a:lnSpc>
          <a:spcPct val="100000"/>
        </a:lnSpc>
        <a:spcBef>
          <a:spcPts val="150"/>
        </a:spcBef>
        <a:spcAft>
          <a:spcPts val="0"/>
        </a:spcAft>
        <a:buClr>
          <a:srgbClr val="000000"/>
        </a:buClr>
        <a:buSzPct val="110000"/>
        <a:buFont typeface="Symbol" panose="05050102010706020507" pitchFamily="18" charset="2"/>
        <a:buChar char=""/>
        <a:tabLst/>
        <a:defRPr sz="901" b="0" i="0" kern="600" spc="20" baseline="0">
          <a:solidFill>
            <a:schemeClr val="tx1"/>
          </a:solidFill>
          <a:latin typeface="+mn-lt"/>
          <a:ea typeface="+mn-ea"/>
          <a:cs typeface="+mn-cs"/>
        </a:defRPr>
      </a:lvl6pPr>
      <a:lvl7pPr marL="0" marR="0" indent="108080" algn="l" defTabSz="457749" rtl="0" eaLnBrk="1" fontAlgn="auto" latinLnBrk="0" hangingPunct="1">
        <a:lnSpc>
          <a:spcPct val="100000"/>
        </a:lnSpc>
        <a:spcBef>
          <a:spcPts val="300"/>
        </a:spcBef>
        <a:spcAft>
          <a:spcPts val="0"/>
        </a:spcAft>
        <a:buClr>
          <a:srgbClr val="005555"/>
        </a:buClr>
        <a:buSzTx/>
        <a:buFont typeface="Wingdings 3" panose="05040102010807070707" pitchFamily="18" charset="2"/>
        <a:buChar char=""/>
        <a:tabLst/>
        <a:defRPr sz="751" b="0" i="1" kern="600" spc="20" baseline="0">
          <a:solidFill>
            <a:schemeClr val="tx2"/>
          </a:solidFill>
          <a:latin typeface="+mn-lt"/>
          <a:ea typeface="+mn-ea"/>
          <a:cs typeface="+mn-cs"/>
        </a:defRPr>
      </a:lvl7pPr>
      <a:lvl8pPr marL="0" marR="0" indent="0" algn="l" defTabSz="457749" rtl="0" eaLnBrk="1" fontAlgn="auto" latinLnBrk="0" hangingPunct="1">
        <a:lnSpc>
          <a:spcPct val="100000"/>
        </a:lnSpc>
        <a:spcBef>
          <a:spcPts val="263"/>
        </a:spcBef>
        <a:spcAft>
          <a:spcPts val="0"/>
        </a:spcAft>
        <a:buClrTx/>
        <a:buSzPct val="110000"/>
        <a:buFont typeface=".SF NS Symbols Regular"/>
        <a:buNone/>
        <a:tabLst/>
        <a:defRPr sz="501" b="0" i="1" kern="600" spc="60" baseline="0">
          <a:solidFill>
            <a:schemeClr val="tx1">
              <a:lumMod val="50000"/>
              <a:lumOff val="50000"/>
            </a:schemeClr>
          </a:solidFill>
          <a:latin typeface="+mn-lt"/>
          <a:ea typeface="+mn-ea"/>
          <a:cs typeface="+mn-cs"/>
        </a:defRPr>
      </a:lvl8pPr>
      <a:lvl9pPr marL="0" indent="0" algn="l" defTabSz="457749" rtl="0" eaLnBrk="1" latinLnBrk="0" hangingPunct="1">
        <a:lnSpc>
          <a:spcPts val="551"/>
        </a:lnSpc>
        <a:spcBef>
          <a:spcPts val="263"/>
        </a:spcBef>
        <a:buFont typeface="Arial" panose="020B0604020202020204" pitchFamily="34" charset="0"/>
        <a:buNone/>
        <a:defRPr sz="400" b="0" i="1" kern="600" spc="60" baseline="0">
          <a:solidFill>
            <a:schemeClr val="tx1">
              <a:lumMod val="50000"/>
              <a:lumOff val="50000"/>
            </a:schemeClr>
          </a:solidFill>
          <a:latin typeface="+mn-lt"/>
          <a:ea typeface="+mn-ea"/>
          <a:cs typeface="+mn-cs"/>
        </a:defRPr>
      </a:lvl9pPr>
    </p:bodyStyle>
    <p:otherStyle>
      <a:defPPr>
        <a:defRPr lang="en-US"/>
      </a:defPPr>
      <a:lvl1pPr marL="0" algn="l" defTabSz="457749" rtl="0" eaLnBrk="1" latinLnBrk="0" hangingPunct="1">
        <a:defRPr sz="901" kern="1200">
          <a:solidFill>
            <a:schemeClr val="tx1"/>
          </a:solidFill>
          <a:latin typeface="+mn-lt"/>
          <a:ea typeface="+mn-ea"/>
          <a:cs typeface="+mn-cs"/>
        </a:defRPr>
      </a:lvl1pPr>
      <a:lvl2pPr marL="228874" algn="l" defTabSz="457749" rtl="0" eaLnBrk="1" latinLnBrk="0" hangingPunct="1">
        <a:defRPr sz="901" kern="1200">
          <a:solidFill>
            <a:schemeClr val="tx1"/>
          </a:solidFill>
          <a:latin typeface="+mn-lt"/>
          <a:ea typeface="+mn-ea"/>
          <a:cs typeface="+mn-cs"/>
        </a:defRPr>
      </a:lvl2pPr>
      <a:lvl3pPr marL="457749" algn="l" defTabSz="457749" rtl="0" eaLnBrk="1" latinLnBrk="0" hangingPunct="1">
        <a:defRPr sz="901" kern="1200">
          <a:solidFill>
            <a:schemeClr val="tx1"/>
          </a:solidFill>
          <a:latin typeface="+mn-lt"/>
          <a:ea typeface="+mn-ea"/>
          <a:cs typeface="+mn-cs"/>
        </a:defRPr>
      </a:lvl3pPr>
      <a:lvl4pPr marL="686623" algn="l" defTabSz="457749" rtl="0" eaLnBrk="1" latinLnBrk="0" hangingPunct="1">
        <a:defRPr sz="901" kern="1200">
          <a:solidFill>
            <a:schemeClr val="tx1"/>
          </a:solidFill>
          <a:latin typeface="+mn-lt"/>
          <a:ea typeface="+mn-ea"/>
          <a:cs typeface="+mn-cs"/>
        </a:defRPr>
      </a:lvl4pPr>
      <a:lvl5pPr marL="915497" algn="l" defTabSz="457749" rtl="0" eaLnBrk="1" latinLnBrk="0" hangingPunct="1">
        <a:defRPr sz="901" kern="1200">
          <a:solidFill>
            <a:schemeClr val="tx1"/>
          </a:solidFill>
          <a:latin typeface="+mn-lt"/>
          <a:ea typeface="+mn-ea"/>
          <a:cs typeface="+mn-cs"/>
        </a:defRPr>
      </a:lvl5pPr>
      <a:lvl6pPr marL="1144372" algn="l" defTabSz="457749" rtl="0" eaLnBrk="1" latinLnBrk="0" hangingPunct="1">
        <a:defRPr sz="901" kern="1200">
          <a:solidFill>
            <a:schemeClr val="tx1"/>
          </a:solidFill>
          <a:latin typeface="+mn-lt"/>
          <a:ea typeface="+mn-ea"/>
          <a:cs typeface="+mn-cs"/>
        </a:defRPr>
      </a:lvl6pPr>
      <a:lvl7pPr marL="1373246" algn="l" defTabSz="457749" rtl="0" eaLnBrk="1" latinLnBrk="0" hangingPunct="1">
        <a:defRPr sz="901" kern="1200">
          <a:solidFill>
            <a:schemeClr val="tx1"/>
          </a:solidFill>
          <a:latin typeface="+mn-lt"/>
          <a:ea typeface="+mn-ea"/>
          <a:cs typeface="+mn-cs"/>
        </a:defRPr>
      </a:lvl7pPr>
      <a:lvl8pPr marL="1602120" algn="l" defTabSz="457749" rtl="0" eaLnBrk="1" latinLnBrk="0" hangingPunct="1">
        <a:defRPr sz="901" kern="1200">
          <a:solidFill>
            <a:schemeClr val="tx1"/>
          </a:solidFill>
          <a:latin typeface="+mn-lt"/>
          <a:ea typeface="+mn-ea"/>
          <a:cs typeface="+mn-cs"/>
        </a:defRPr>
      </a:lvl8pPr>
      <a:lvl9pPr marL="1830995" algn="l" defTabSz="457749" rtl="0" eaLnBrk="1" latinLnBrk="0" hangingPunct="1">
        <a:defRPr sz="90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1552">
          <p15:clr>
            <a:srgbClr val="F26B43"/>
          </p15:clr>
        </p15:guide>
        <p15:guide id="3" pos="7038">
          <p15:clr>
            <a:srgbClr val="F26B43"/>
          </p15:clr>
        </p15:guide>
        <p15:guide id="4" orient="horz" pos="8030">
          <p15:clr>
            <a:srgbClr val="F26B43"/>
          </p15:clr>
        </p15:guide>
        <p15:guide id="6" orient="horz" pos="2025">
          <p15:clr>
            <a:srgbClr val="F26B43"/>
          </p15:clr>
        </p15:guide>
        <p15:guide id="7" orient="horz" pos="8166">
          <p15:clr>
            <a:srgbClr val="F26B43"/>
          </p15:clr>
        </p15:guide>
        <p15:guide id="8" orient="horz" pos="8345">
          <p15:clr>
            <a:srgbClr val="F26B43"/>
          </p15:clr>
        </p15:guide>
        <p15:guide id="9" pos="143">
          <p15:clr>
            <a:srgbClr val="F26B43"/>
          </p15:clr>
        </p15:guide>
        <p15:guide id="11" orient="horz" pos="1005">
          <p15:clr>
            <a:srgbClr val="F26B43"/>
          </p15:clr>
        </p15:guide>
        <p15:guide id="12" pos="7537">
          <p15:clr>
            <a:srgbClr val="F26B43"/>
          </p15:clr>
        </p15:guide>
        <p15:guide id="14" orient="horz" pos="917">
          <p15:clr>
            <a:srgbClr val="F26B43"/>
          </p15:clr>
        </p15:guide>
        <p15:guide id="15" orient="horz" pos="306">
          <p15:clr>
            <a:srgbClr val="F26B43"/>
          </p15:clr>
        </p15:guide>
        <p15:guide id="16" orient="horz" pos="555">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4.jpeg"/><Relationship Id="rId2" Type="http://schemas.openxmlformats.org/officeDocument/2006/relationships/image" Target="../media/image11.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5.png"/><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17" name="Inhaltsplatzhalter 16"/>
              <p:cNvSpPr>
                <a:spLocks noGrp="1"/>
              </p:cNvSpPr>
              <p:nvPr>
                <p:ph sz="quarter" idx="13"/>
              </p:nvPr>
            </p:nvSpPr>
            <p:spPr/>
            <p:txBody>
              <a:bodyPr/>
              <a:lstStyle/>
              <a:p>
                <a:r>
                  <a:rPr lang="de-DE" dirty="0" smtClean="0"/>
                  <a:t>Target – </a:t>
                </a:r>
                <a:r>
                  <a:rPr lang="de-DE" dirty="0" err="1" smtClean="0"/>
                  <a:t>receives</a:t>
                </a:r>
                <a:r>
                  <a:rPr lang="de-DE" dirty="0" smtClean="0"/>
                  <a:t> </a:t>
                </a:r>
                <a:r>
                  <a:rPr lang="de-DE" dirty="0" err="1" smtClean="0"/>
                  <a:t>particle</a:t>
                </a:r>
                <a:r>
                  <a:rPr lang="de-DE" dirty="0" smtClean="0"/>
                  <a:t> </a:t>
                </a:r>
                <a:r>
                  <a:rPr lang="de-DE" dirty="0" err="1" smtClean="0"/>
                  <a:t>loads</a:t>
                </a:r>
                <a:endParaRPr lang="de-DE" dirty="0" smtClean="0"/>
              </a:p>
              <a:p>
                <a:r>
                  <a:rPr lang="de-DE" dirty="0" err="1" smtClean="0"/>
                  <a:t>Baffle</a:t>
                </a:r>
                <a:r>
                  <a:rPr lang="de-DE" dirty="0" smtClean="0"/>
                  <a:t> – </a:t>
                </a:r>
                <a:r>
                  <a:rPr lang="de-DE" dirty="0" err="1" smtClean="0"/>
                  <a:t>receives</a:t>
                </a:r>
                <a:r>
                  <a:rPr lang="de-DE" dirty="0" smtClean="0"/>
                  <a:t> </a:t>
                </a:r>
                <a:r>
                  <a:rPr lang="de-DE" dirty="0" err="1" smtClean="0"/>
                  <a:t>radiative</a:t>
                </a:r>
                <a:r>
                  <a:rPr lang="de-DE" dirty="0" smtClean="0"/>
                  <a:t> </a:t>
                </a:r>
                <a:r>
                  <a:rPr lang="de-DE" dirty="0" err="1" smtClean="0"/>
                  <a:t>loads</a:t>
                </a:r>
                <a:endParaRPr lang="de-DE" dirty="0"/>
              </a:p>
              <a:p>
                <a:endParaRPr lang="de-DE" sz="1600" i="1" dirty="0" smtClean="0">
                  <a:solidFill>
                    <a:srgbClr val="005555"/>
                  </a:solidFill>
                  <a:latin typeface="Cambria Math" panose="02040503050406030204" pitchFamily="18" charset="0"/>
                </a:endParaRPr>
              </a:p>
              <a:p>
                <a14:m>
                  <m:oMath xmlns:m="http://schemas.openxmlformats.org/officeDocument/2006/math">
                    <m:r>
                      <m:rPr>
                        <m:nor/>
                      </m:rPr>
                      <a:rPr lang="de-DE" sz="1600" dirty="0"/>
                      <m:t>6</m:t>
                    </m:r>
                    <m:r>
                      <m:rPr>
                        <m:nor/>
                      </m:rPr>
                      <a:rPr lang="el-GR" sz="1600" dirty="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𝑫</m:t>
                        </m:r>
                        <m:r>
                          <a:rPr lang="de-DE" sz="1600" b="1" i="1" smtClean="0">
                            <a:latin typeface="Cambria Math" panose="02040503050406030204" pitchFamily="18" charset="0"/>
                          </a:rPr>
                          <m:t>−</m:t>
                        </m:r>
                        <m:r>
                          <a:rPr lang="de-DE" sz="1600" b="1" i="1" smtClean="0">
                            <a:latin typeface="Cambria Math" panose="02040503050406030204" pitchFamily="18" charset="0"/>
                          </a:rPr>
                          <m:t>𝑺𝑶𝑳</m:t>
                        </m:r>
                      </m:sub>
                    </m:sSub>
                  </m:oMath>
                </a14:m>
                <a:r>
                  <a:rPr lang="de-DE" sz="1600" dirty="0" smtClean="0"/>
                  <a:t>- </a:t>
                </a:r>
                <a:r>
                  <a:rPr lang="de-DE" sz="1600" dirty="0" smtClean="0"/>
                  <a:t>D-SOL </a:t>
                </a:r>
                <a:r>
                  <a:rPr lang="de-DE" sz="1600" dirty="0" err="1" smtClean="0"/>
                  <a:t>width</a:t>
                </a:r>
                <a:r>
                  <a:rPr lang="de-DE" sz="1600" dirty="0" smtClean="0"/>
                  <a:t> </a:t>
                </a:r>
                <a:r>
                  <a:rPr lang="de-DE" sz="1600" dirty="0" err="1" smtClean="0"/>
                  <a:t>that</a:t>
                </a:r>
                <a:r>
                  <a:rPr lang="de-DE" sz="1600" dirty="0" smtClean="0"/>
                  <a:t> </a:t>
                </a:r>
                <a:r>
                  <a:rPr lang="de-DE" sz="1600" dirty="0" err="1" smtClean="0"/>
                  <a:t>includes</a:t>
                </a:r>
                <a:r>
                  <a:rPr lang="de-DE" sz="1600" dirty="0" smtClean="0"/>
                  <a:t> 6</a:t>
                </a:r>
                <a:r>
                  <a:rPr lang="el-GR" sz="1600" dirty="0" smtClean="0">
                    <a:latin typeface="Arial" panose="020B0604020202020204" pitchFamily="34" charset="0"/>
                    <a:cs typeface="Arial" panose="020B0604020202020204" pitchFamily="34" charset="0"/>
                  </a:rPr>
                  <a:t>σ</a:t>
                </a:r>
                <a:r>
                  <a:rPr lang="de-DE" sz="1600" dirty="0" smtClean="0"/>
                  <a:t> </a:t>
                </a:r>
                <a:r>
                  <a:rPr lang="de-DE" sz="1600" dirty="0" err="1" smtClean="0"/>
                  <a:t>of</a:t>
                </a:r>
                <a:r>
                  <a:rPr lang="de-DE" sz="1600" dirty="0" smtClean="0"/>
                  <a:t> D-SOL </a:t>
                </a:r>
                <a:r>
                  <a:rPr lang="de-DE" sz="1600" dirty="0" err="1" smtClean="0"/>
                  <a:t>particles</a:t>
                </a:r>
                <a:endParaRPr lang="de-DE" sz="1600" dirty="0">
                  <a:latin typeface="Arial" panose="020B0604020202020204" pitchFamily="34" charset="0"/>
                  <a:cs typeface="Arial" panose="020B0604020202020204" pitchFamily="34" charset="0"/>
                </a:endParaRPr>
              </a:p>
              <a:p>
                <a14:m>
                  <m:oMath xmlns:m="http://schemas.openxmlformats.org/officeDocument/2006/math">
                    <m:r>
                      <m:rPr>
                        <m:nor/>
                      </m:rPr>
                      <a:rPr lang="de-DE" sz="1600" dirty="0"/>
                      <m:t>6</m:t>
                    </m:r>
                    <m:r>
                      <m:rPr>
                        <m:nor/>
                      </m:rPr>
                      <a:rPr lang="el-GR" sz="1600" dirty="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𝑷𝑭𝑹</m:t>
                        </m:r>
                      </m:sub>
                    </m:sSub>
                  </m:oMath>
                </a14:m>
                <a:r>
                  <a:rPr lang="de-DE" sz="1600" dirty="0"/>
                  <a:t> </a:t>
                </a:r>
                <a:r>
                  <a:rPr lang="de-DE" sz="1600" dirty="0" smtClean="0"/>
                  <a:t>	</a:t>
                </a:r>
                <a:r>
                  <a:rPr lang="de-DE" sz="1600" dirty="0"/>
                  <a:t> </a:t>
                </a:r>
                <a:r>
                  <a:rPr lang="de-DE" sz="1600" dirty="0" smtClean="0"/>
                  <a:t> </a:t>
                </a:r>
                <a:r>
                  <a:rPr lang="de-DE" sz="1600" dirty="0" smtClean="0"/>
                  <a:t>- </a:t>
                </a:r>
                <a:r>
                  <a:rPr lang="de-DE" sz="1600" dirty="0" smtClean="0"/>
                  <a:t>PFR </a:t>
                </a:r>
                <a:r>
                  <a:rPr lang="de-DE" sz="1600" dirty="0" err="1"/>
                  <a:t>width</a:t>
                </a:r>
                <a:r>
                  <a:rPr lang="de-DE" sz="1600" dirty="0"/>
                  <a:t> </a:t>
                </a:r>
                <a:r>
                  <a:rPr lang="de-DE" sz="1600" dirty="0" err="1"/>
                  <a:t>that</a:t>
                </a:r>
                <a:r>
                  <a:rPr lang="de-DE" sz="1600" dirty="0"/>
                  <a:t> </a:t>
                </a:r>
                <a:r>
                  <a:rPr lang="de-DE" sz="1600" dirty="0" err="1"/>
                  <a:t>includes</a:t>
                </a:r>
                <a:r>
                  <a:rPr lang="de-DE" sz="1600" dirty="0"/>
                  <a:t> 6</a:t>
                </a:r>
                <a:r>
                  <a:rPr lang="el-GR" sz="1600" dirty="0">
                    <a:latin typeface="Arial" panose="020B0604020202020204" pitchFamily="34" charset="0"/>
                    <a:cs typeface="Arial" panose="020B0604020202020204" pitchFamily="34" charset="0"/>
                  </a:rPr>
                  <a:t>σ</a:t>
                </a:r>
                <a:r>
                  <a:rPr lang="de-DE" sz="1600" dirty="0"/>
                  <a:t> </a:t>
                </a:r>
                <a:r>
                  <a:rPr lang="de-DE" sz="1600" dirty="0" err="1"/>
                  <a:t>of</a:t>
                </a:r>
                <a:r>
                  <a:rPr lang="de-DE" sz="1600" dirty="0"/>
                  <a:t> </a:t>
                </a:r>
                <a:r>
                  <a:rPr lang="de-DE" sz="1600" dirty="0" smtClean="0"/>
                  <a:t>PFR </a:t>
                </a:r>
                <a:r>
                  <a:rPr lang="de-DE" sz="1600" dirty="0" err="1" smtClean="0"/>
                  <a:t>particles</a:t>
                </a:r>
                <a:endParaRPr lang="de-DE" sz="1600" dirty="0">
                  <a:latin typeface="Arial" panose="020B0604020202020204" pitchFamily="34" charset="0"/>
                  <a:cs typeface="Arial" panose="020B0604020202020204" pitchFamily="34" charset="0"/>
                </a:endParaRPr>
              </a:p>
              <a:p>
                <a:endParaRPr lang="de-DE" sz="1600" i="1" dirty="0" smtClean="0">
                  <a:solidFill>
                    <a:srgbClr val="005555"/>
                  </a:solidFill>
                  <a:latin typeface="Cambria Math" panose="02040503050406030204" pitchFamily="18" charset="0"/>
                </a:endParaRPr>
              </a:p>
              <a:p>
                <a14:m>
                  <m:oMath xmlns:m="http://schemas.openxmlformats.org/officeDocument/2006/math">
                    <m:r>
                      <m:rPr>
                        <m:nor/>
                      </m:rPr>
                      <a:rPr lang="de-DE" sz="1600" dirty="0"/>
                      <m:t>6</m:t>
                    </m:r>
                    <m:r>
                      <m:rPr>
                        <m:nor/>
                      </m:rPr>
                      <a:rPr lang="el-GR" sz="1600" dirty="0">
                        <a:latin typeface="Arial" panose="020B0604020202020204" pitchFamily="34" charset="0"/>
                        <a:cs typeface="Arial" panose="020B0604020202020204" pitchFamily="34" charset="0"/>
                      </a:rPr>
                      <m:t>σ</m:t>
                    </m:r>
                    <m:sSub>
                      <m:sSubPr>
                        <m:ctrlPr>
                          <a:rPr lang="de-DE" sz="1600" i="1" smtClean="0">
                            <a:solidFill>
                              <a:srgbClr val="005555"/>
                            </a:solidFill>
                            <a:latin typeface="Cambria Math" panose="02040503050406030204" pitchFamily="18" charset="0"/>
                          </a:rPr>
                        </m:ctrlPr>
                      </m:sSubPr>
                      <m:e>
                        <m:r>
                          <m:rPr>
                            <m:sty m:val="p"/>
                          </m:rPr>
                          <a:rPr lang="el-GR" sz="1600" i="1">
                            <a:solidFill>
                              <a:srgbClr val="005555"/>
                            </a:solidFill>
                            <a:latin typeface="Cambria Math" panose="02040503050406030204" pitchFamily="18" charset="0"/>
                          </a:rPr>
                          <m:t>λ</m:t>
                        </m:r>
                      </m:e>
                      <m:sub>
                        <m:r>
                          <a:rPr lang="de-DE" sz="1600" b="1" i="1" smtClean="0">
                            <a:solidFill>
                              <a:srgbClr val="005555"/>
                            </a:solidFill>
                            <a:latin typeface="Cambria Math" panose="02040503050406030204" pitchFamily="18" charset="0"/>
                          </a:rPr>
                          <m:t>𝟎</m:t>
                        </m:r>
                      </m:sub>
                    </m:sSub>
                  </m:oMath>
                </a14:m>
                <a:r>
                  <a:rPr lang="de-DE" sz="1600" dirty="0" smtClean="0"/>
                  <a:t> 	</a:t>
                </a:r>
                <a:r>
                  <a:rPr lang="de-DE" sz="1600" dirty="0" smtClean="0"/>
                  <a:t>  - </a:t>
                </a:r>
                <a:r>
                  <a:rPr lang="de-DE" sz="1600" dirty="0" smtClean="0"/>
                  <a:t>Neutral-Neutral </a:t>
                </a:r>
                <a:r>
                  <a:rPr lang="de-DE" sz="1600" dirty="0" err="1" smtClean="0"/>
                  <a:t>collision</a:t>
                </a:r>
                <a:r>
                  <a:rPr lang="de-DE" sz="1600" dirty="0" smtClean="0"/>
                  <a:t> </a:t>
                </a:r>
                <a:r>
                  <a:rPr lang="de-DE" sz="1600" dirty="0" err="1" smtClean="0"/>
                  <a:t>length</a:t>
                </a:r>
                <a:r>
                  <a:rPr lang="de-DE" sz="1600" dirty="0" smtClean="0"/>
                  <a:t> </a:t>
                </a:r>
                <a:r>
                  <a:rPr lang="de-DE" sz="1600" dirty="0" err="1" smtClean="0"/>
                  <a:t>for</a:t>
                </a:r>
                <a:r>
                  <a:rPr lang="de-DE" sz="1600" dirty="0" smtClean="0"/>
                  <a:t> 6</a:t>
                </a:r>
                <a:r>
                  <a:rPr lang="el-GR" sz="1600" dirty="0" smtClean="0">
                    <a:latin typeface="Arial" panose="020B0604020202020204" pitchFamily="34" charset="0"/>
                    <a:cs typeface="Arial" panose="020B0604020202020204" pitchFamily="34" charset="0"/>
                  </a:rPr>
                  <a:t>σ</a:t>
                </a:r>
                <a:r>
                  <a:rPr lang="de-DE" sz="1600" dirty="0" smtClean="0">
                    <a:latin typeface="Arial" panose="020B0604020202020204" pitchFamily="34" charset="0"/>
                    <a:cs typeface="Arial" panose="020B0604020202020204" pitchFamily="34" charset="0"/>
                  </a:rPr>
                  <a:t> </a:t>
                </a:r>
                <a:r>
                  <a:rPr lang="de-DE" sz="1600" dirty="0" err="1" smtClean="0">
                    <a:latin typeface="Arial" panose="020B0604020202020204" pitchFamily="34" charset="0"/>
                    <a:cs typeface="Arial" panose="020B0604020202020204" pitchFamily="34" charset="0"/>
                  </a:rPr>
                  <a:t>of</a:t>
                </a:r>
                <a:r>
                  <a:rPr lang="de-DE" sz="1600" dirty="0" smtClean="0">
                    <a:latin typeface="Arial" panose="020B0604020202020204" pitchFamily="34" charset="0"/>
                    <a:cs typeface="Arial" panose="020B0604020202020204" pitchFamily="34" charset="0"/>
                  </a:rPr>
                  <a:t> </a:t>
                </a:r>
                <a:r>
                  <a:rPr lang="de-DE" sz="1600" dirty="0" err="1" smtClean="0">
                    <a:latin typeface="Arial" panose="020B0604020202020204" pitchFamily="34" charset="0"/>
                    <a:cs typeface="Arial" panose="020B0604020202020204" pitchFamily="34" charset="0"/>
                  </a:rPr>
                  <a:t>neutrals</a:t>
                </a:r>
                <a:r>
                  <a:rPr lang="de-DE" sz="1600" dirty="0" smtClean="0">
                    <a:latin typeface="Arial" panose="020B0604020202020204" pitchFamily="34" charset="0"/>
                    <a:cs typeface="Arial" panose="020B0604020202020204" pitchFamily="34" charset="0"/>
                  </a:rPr>
                  <a:t> </a:t>
                </a:r>
                <a:endParaRPr lang="de-DE" sz="1600" i="1" dirty="0" smtClean="0">
                  <a:latin typeface="Cambria Math" panose="02040503050406030204" pitchFamily="18" charset="0"/>
                </a:endParaRPr>
              </a:p>
              <a:p>
                <a14:m>
                  <m:oMath xmlns:m="http://schemas.openxmlformats.org/officeDocument/2006/math">
                    <m:r>
                      <m:rPr>
                        <m:nor/>
                      </m:rPr>
                      <a:rPr lang="de-DE" sz="1600" dirty="0"/>
                      <m:t>6</m:t>
                    </m:r>
                    <m:r>
                      <m:rPr>
                        <m:nor/>
                      </m:rPr>
                      <a:rPr lang="el-GR" sz="1600" dirty="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𝒊𝒛</m:t>
                        </m:r>
                      </m:sub>
                    </m:sSub>
                  </m:oMath>
                </a14:m>
                <a:r>
                  <a:rPr lang="de-DE" sz="1600" dirty="0"/>
                  <a:t> </a:t>
                </a:r>
                <a:r>
                  <a:rPr lang="de-DE" sz="1600" dirty="0" smtClean="0"/>
                  <a:t>	</a:t>
                </a:r>
                <a:r>
                  <a:rPr lang="de-DE" sz="1600" dirty="0" smtClean="0"/>
                  <a:t>  - </a:t>
                </a:r>
                <a:r>
                  <a:rPr lang="de-DE" sz="1600" dirty="0" err="1" smtClean="0"/>
                  <a:t>Ionization</a:t>
                </a:r>
                <a:r>
                  <a:rPr lang="de-DE" sz="1600" dirty="0" smtClean="0"/>
                  <a:t> </a:t>
                </a:r>
                <a:r>
                  <a:rPr lang="de-DE" sz="1600" dirty="0" err="1" smtClean="0"/>
                  <a:t>length</a:t>
                </a:r>
                <a:r>
                  <a:rPr lang="de-DE" sz="1600" dirty="0" smtClean="0"/>
                  <a:t> </a:t>
                </a:r>
                <a:r>
                  <a:rPr lang="de-DE" sz="1600" dirty="0" err="1" smtClean="0"/>
                  <a:t>where</a:t>
                </a:r>
                <a:r>
                  <a:rPr lang="de-DE" sz="1600" dirty="0" smtClean="0"/>
                  <a:t> </a:t>
                </a:r>
                <a:r>
                  <a:rPr lang="de-DE" sz="1600" dirty="0"/>
                  <a:t>6</a:t>
                </a:r>
                <a:r>
                  <a:rPr lang="el-GR" sz="1600" dirty="0" smtClean="0">
                    <a:latin typeface="Arial" panose="020B0604020202020204" pitchFamily="34" charset="0"/>
                    <a:cs typeface="Arial" panose="020B0604020202020204" pitchFamily="34" charset="0"/>
                  </a:rPr>
                  <a:t>σ</a:t>
                </a:r>
                <a:r>
                  <a:rPr lang="de-DE" sz="1600" dirty="0" smtClean="0">
                    <a:latin typeface="Arial" panose="020B0604020202020204" pitchFamily="34" charset="0"/>
                    <a:cs typeface="Arial" panose="020B0604020202020204" pitchFamily="34" charset="0"/>
                  </a:rPr>
                  <a:t> </a:t>
                </a:r>
                <a:r>
                  <a:rPr lang="de-DE" sz="1600" dirty="0" err="1" smtClean="0">
                    <a:latin typeface="Arial" panose="020B0604020202020204" pitchFamily="34" charset="0"/>
                    <a:cs typeface="Arial" panose="020B0604020202020204" pitchFamily="34" charset="0"/>
                  </a:rPr>
                  <a:t>of</a:t>
                </a:r>
                <a:r>
                  <a:rPr lang="de-DE" sz="1600" dirty="0" smtClean="0">
                    <a:latin typeface="Arial" panose="020B0604020202020204" pitchFamily="34" charset="0"/>
                    <a:cs typeface="Arial" panose="020B0604020202020204" pitchFamily="34" charset="0"/>
                  </a:rPr>
                  <a:t> </a:t>
                </a:r>
                <a:r>
                  <a:rPr lang="de-DE" sz="1600" dirty="0" err="1" smtClean="0">
                    <a:latin typeface="Arial" panose="020B0604020202020204" pitchFamily="34" charset="0"/>
                    <a:cs typeface="Arial" panose="020B0604020202020204" pitchFamily="34" charset="0"/>
                  </a:rPr>
                  <a:t>neutrals</a:t>
                </a:r>
                <a:r>
                  <a:rPr lang="de-DE" sz="1600" dirty="0" smtClean="0">
                    <a:latin typeface="Arial" panose="020B0604020202020204" pitchFamily="34" charset="0"/>
                    <a:cs typeface="Arial" panose="020B0604020202020204" pitchFamily="34" charset="0"/>
                  </a:rPr>
                  <a:t> </a:t>
                </a:r>
                <a:r>
                  <a:rPr lang="de-DE" sz="1600" dirty="0" err="1" smtClean="0">
                    <a:latin typeface="Arial" panose="020B0604020202020204" pitchFamily="34" charset="0"/>
                    <a:cs typeface="Arial" panose="020B0604020202020204" pitchFamily="34" charset="0"/>
                  </a:rPr>
                  <a:t>ionized</a:t>
                </a:r>
                <a:endParaRPr lang="de-DE" sz="1600" dirty="0" smtClean="0">
                  <a:latin typeface="Arial" panose="020B0604020202020204" pitchFamily="34" charset="0"/>
                  <a:cs typeface="Arial" panose="020B0604020202020204" pitchFamily="34" charset="0"/>
                </a:endParaRPr>
              </a:p>
              <a:p>
                <a:endParaRPr lang="de-DE" sz="1600" dirty="0">
                  <a:latin typeface="Arial" panose="020B0604020202020204" pitchFamily="34" charset="0"/>
                  <a:cs typeface="Arial" panose="020B0604020202020204" pitchFamily="34" charset="0"/>
                </a:endParaRPr>
              </a:p>
              <a:p>
                <a:endParaRPr lang="de-DE" sz="1600" dirty="0"/>
              </a:p>
            </p:txBody>
          </p:sp>
        </mc:Choice>
        <mc:Fallback>
          <p:sp>
            <p:nvSpPr>
              <p:cNvPr id="17" name="Inhaltsplatzhalter 16"/>
              <p:cNvSpPr>
                <a:spLocks noGrp="1" noRot="1" noChangeAspect="1" noMove="1" noResize="1" noEditPoints="1" noAdjustHandles="1" noChangeArrowheads="1" noChangeShapeType="1" noTextEdit="1"/>
              </p:cNvSpPr>
              <p:nvPr>
                <p:ph sz="quarter" idx="13"/>
              </p:nvPr>
            </p:nvSpPr>
            <p:spPr>
              <a:blipFill>
                <a:blip r:embed="rId2"/>
                <a:stretch>
                  <a:fillRect l="-1298"/>
                </a:stretch>
              </a:blipFill>
            </p:spPr>
            <p:txBody>
              <a:bodyPr/>
              <a:lstStyle/>
              <a:p>
                <a:r>
                  <a:rPr lang="de-DE">
                    <a:noFill/>
                  </a:rPr>
                  <a:t> </a:t>
                </a:r>
              </a:p>
            </p:txBody>
          </p:sp>
        </mc:Fallback>
      </mc:AlternateContent>
      <p:sp>
        <p:nvSpPr>
          <p:cNvPr id="2" name="Titel 1"/>
          <p:cNvSpPr>
            <a:spLocks noGrp="1"/>
          </p:cNvSpPr>
          <p:nvPr>
            <p:ph type="title"/>
          </p:nvPr>
        </p:nvSpPr>
        <p:spPr/>
        <p:txBody>
          <a:bodyPr/>
          <a:lstStyle/>
          <a:p>
            <a:r>
              <a:rPr lang="de-DE" dirty="0" err="1" smtClean="0"/>
              <a:t>Fully</a:t>
            </a:r>
            <a:r>
              <a:rPr lang="de-DE" dirty="0" smtClean="0"/>
              <a:t> </a:t>
            </a:r>
            <a:r>
              <a:rPr lang="de-DE" dirty="0" err="1" smtClean="0"/>
              <a:t>detached</a:t>
            </a:r>
            <a:r>
              <a:rPr lang="de-DE" dirty="0" smtClean="0"/>
              <a:t> divertor </a:t>
            </a:r>
            <a:r>
              <a:rPr lang="de-DE" dirty="0" err="1" smtClean="0"/>
              <a:t>concept</a:t>
            </a:r>
            <a:endParaRPr lang="de-DE" dirty="0"/>
          </a:p>
        </p:txBody>
      </p:sp>
      <p:sp>
        <p:nvSpPr>
          <p:cNvPr id="3" name="Fußzeilenplatzhalter 2"/>
          <p:cNvSpPr>
            <a:spLocks noGrp="1"/>
          </p:cNvSpPr>
          <p:nvPr>
            <p:ph type="ftr" sz="quarter" idx="4294967295"/>
          </p:nvPr>
        </p:nvSpPr>
        <p:spPr>
          <a:xfrm>
            <a:off x="0" y="6489700"/>
            <a:ext cx="10477500" cy="142875"/>
          </a:xfrm>
        </p:spPr>
        <p:txBody>
          <a:bodyPr/>
          <a:lstStyle/>
          <a:p>
            <a:pPr algn="l">
              <a:tabLst>
                <a:tab pos="9775321" algn="r"/>
                <a:tab pos="10226148" algn="r"/>
              </a:tabLst>
            </a:pPr>
            <a:r>
              <a:rPr lang="de-DE" smtClean="0"/>
              <a:t>Max-Planck-Institut für Plasmaphysik | Thierry Kremeyer | 22.01.24</a:t>
            </a:r>
            <a:endParaRPr lang="de-DE" dirty="0"/>
          </a:p>
        </p:txBody>
      </p:sp>
      <p:sp>
        <p:nvSpPr>
          <p:cNvPr id="4" name="Foliennummernplatzhalter 3"/>
          <p:cNvSpPr>
            <a:spLocks noGrp="1"/>
          </p:cNvSpPr>
          <p:nvPr>
            <p:ph type="sldNum" sz="quarter" idx="4294967295"/>
          </p:nvPr>
        </p:nvSpPr>
        <p:spPr>
          <a:xfrm>
            <a:off x="11863388" y="6489700"/>
            <a:ext cx="328612" cy="142875"/>
          </a:xfrm>
        </p:spPr>
        <p:txBody>
          <a:bodyPr/>
          <a:lstStyle/>
          <a:p>
            <a:fld id="{3B1A4699-952B-42DA-8DC4-38A59B49610C}" type="slidenum">
              <a:rPr lang="de-DE" smtClean="0"/>
              <a:pPr/>
              <a:t>1</a:t>
            </a:fld>
            <a:endParaRPr lang="de-DE" dirty="0"/>
          </a:p>
        </p:txBody>
      </p:sp>
      <p:sp>
        <p:nvSpPr>
          <p:cNvPr id="18" name="Rechteck 17"/>
          <p:cNvSpPr/>
          <p:nvPr/>
        </p:nvSpPr>
        <p:spPr>
          <a:xfrm>
            <a:off x="4616421" y="1685300"/>
            <a:ext cx="1118554" cy="239697"/>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9" name="Rechteck 18"/>
          <p:cNvSpPr/>
          <p:nvPr/>
        </p:nvSpPr>
        <p:spPr>
          <a:xfrm>
            <a:off x="4616421" y="2079133"/>
            <a:ext cx="1118554" cy="239697"/>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feld 19"/>
          <p:cNvSpPr txBox="1"/>
          <p:nvPr/>
        </p:nvSpPr>
        <p:spPr>
          <a:xfrm>
            <a:off x="7036556" y="-8996"/>
            <a:ext cx="1758495" cy="2585323"/>
          </a:xfrm>
          <a:prstGeom prst="rect">
            <a:avLst/>
          </a:prstGeom>
          <a:noFill/>
        </p:spPr>
        <p:txBody>
          <a:bodyPr wrap="none" lIns="0" tIns="0" rIns="0" bIns="0" rtlCol="0" anchor="t" anchorCtr="0">
            <a:spAutoFit/>
          </a:bodyPr>
          <a:lstStyle/>
          <a:p>
            <a:pPr algn="l"/>
            <a:r>
              <a:rPr lang="de-DE" sz="2800" b="1" dirty="0" smtClean="0">
                <a:solidFill>
                  <a:srgbClr val="C00000"/>
                </a:solidFill>
              </a:rPr>
              <a:t>Core</a:t>
            </a:r>
          </a:p>
          <a:p>
            <a:pPr algn="l"/>
            <a:r>
              <a:rPr lang="de-DE" sz="2800" b="1" dirty="0" smtClean="0">
                <a:solidFill>
                  <a:srgbClr val="EF7C00"/>
                </a:solidFill>
              </a:rPr>
              <a:t>Edge</a:t>
            </a:r>
          </a:p>
          <a:p>
            <a:pPr algn="l"/>
            <a:r>
              <a:rPr lang="de-DE" sz="2800" b="1" dirty="0" smtClean="0">
                <a:solidFill>
                  <a:srgbClr val="C6D325"/>
                </a:solidFill>
              </a:rPr>
              <a:t>P-SOL</a:t>
            </a:r>
          </a:p>
          <a:p>
            <a:pPr algn="l"/>
            <a:r>
              <a:rPr lang="de-DE" sz="2800" b="1" dirty="0" smtClean="0">
                <a:solidFill>
                  <a:srgbClr val="97E6FF"/>
                </a:solidFill>
              </a:rPr>
              <a:t>D-SOL</a:t>
            </a:r>
          </a:p>
          <a:p>
            <a:pPr algn="l"/>
            <a:r>
              <a:rPr lang="de-DE" sz="2800" b="1" dirty="0" smtClean="0">
                <a:solidFill>
                  <a:srgbClr val="00B1EA"/>
                </a:solidFill>
              </a:rPr>
              <a:t>PFR</a:t>
            </a:r>
          </a:p>
          <a:p>
            <a:pPr algn="l"/>
            <a:r>
              <a:rPr lang="de-DE" sz="2800" b="1" dirty="0" err="1" smtClean="0">
                <a:solidFill>
                  <a:srgbClr val="EF7C00"/>
                </a:solidFill>
              </a:rPr>
              <a:t>Separatrix</a:t>
            </a:r>
            <a:endParaRPr lang="de-DE" sz="2800" b="1" dirty="0" smtClean="0">
              <a:solidFill>
                <a:srgbClr val="EF7C00"/>
              </a:solidFill>
            </a:endParaRPr>
          </a:p>
        </p:txBody>
      </p:sp>
      <p:grpSp>
        <p:nvGrpSpPr>
          <p:cNvPr id="39" name="Gruppieren 38"/>
          <p:cNvGrpSpPr/>
          <p:nvPr/>
        </p:nvGrpSpPr>
        <p:grpSpPr>
          <a:xfrm>
            <a:off x="7323007" y="227393"/>
            <a:ext cx="4470500" cy="6154357"/>
            <a:chOff x="7323007" y="227393"/>
            <a:chExt cx="4470500" cy="6154357"/>
          </a:xfrm>
        </p:grpSpPr>
        <p:sp>
          <p:nvSpPr>
            <p:cNvPr id="22" name="Freihandform 21"/>
            <p:cNvSpPr/>
            <p:nvPr/>
          </p:nvSpPr>
          <p:spPr>
            <a:xfrm>
              <a:off x="7323007" y="227393"/>
              <a:ext cx="4470500" cy="6154357"/>
            </a:xfrm>
            <a:custGeom>
              <a:avLst/>
              <a:gdLst>
                <a:gd name="connsiteX0" fmla="*/ 4684471 w 9542485"/>
                <a:gd name="connsiteY0" fmla="*/ 2762228 h 13136754"/>
                <a:gd name="connsiteX1" fmla="*/ 4357899 w 9542485"/>
                <a:gd name="connsiteY1" fmla="*/ 3888899 h 13136754"/>
                <a:gd name="connsiteX2" fmla="*/ 3280214 w 9542485"/>
                <a:gd name="connsiteY2" fmla="*/ 5636057 h 13136754"/>
                <a:gd name="connsiteX3" fmla="*/ 2692385 w 9542485"/>
                <a:gd name="connsiteY3" fmla="*/ 6436157 h 13136754"/>
                <a:gd name="connsiteX4" fmla="*/ 1059528 w 9542485"/>
                <a:gd name="connsiteY4" fmla="*/ 7889399 h 13136754"/>
                <a:gd name="connsiteX5" fmla="*/ 161457 w 9542485"/>
                <a:gd name="connsiteY5" fmla="*/ 9456942 h 13136754"/>
                <a:gd name="connsiteX6" fmla="*/ 96142 w 9542485"/>
                <a:gd name="connsiteY6" fmla="*/ 11138785 h 13136754"/>
                <a:gd name="connsiteX7" fmla="*/ 1173828 w 9542485"/>
                <a:gd name="connsiteY7" fmla="*/ 12689999 h 13136754"/>
                <a:gd name="connsiteX8" fmla="*/ 2969971 w 9542485"/>
                <a:gd name="connsiteY8" fmla="*/ 13130871 h 13136754"/>
                <a:gd name="connsiteX9" fmla="*/ 5500899 w 9542485"/>
                <a:gd name="connsiteY9" fmla="*/ 12461399 h 13136754"/>
                <a:gd name="connsiteX10" fmla="*/ 7786899 w 9542485"/>
                <a:gd name="connsiteY10" fmla="*/ 10338685 h 13136754"/>
                <a:gd name="connsiteX11" fmla="*/ 9387099 w 9542485"/>
                <a:gd name="connsiteY11" fmla="*/ 7383214 h 13136754"/>
                <a:gd name="connsiteX12" fmla="*/ 9419757 w 9542485"/>
                <a:gd name="connsiteY12" fmla="*/ 3888899 h 13136754"/>
                <a:gd name="connsiteX13" fmla="*/ 8848257 w 9542485"/>
                <a:gd name="connsiteY13" fmla="*/ 1374299 h 13136754"/>
                <a:gd name="connsiteX14" fmla="*/ 7297042 w 9542485"/>
                <a:gd name="connsiteY14" fmla="*/ 149657 h 13136754"/>
                <a:gd name="connsiteX15" fmla="*/ 5386599 w 9542485"/>
                <a:gd name="connsiteY15" fmla="*/ 312942 h 13136754"/>
                <a:gd name="connsiteX16" fmla="*/ 4684471 w 9542485"/>
                <a:gd name="connsiteY16" fmla="*/ 2762228 h 13136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2485" h="13136754">
                  <a:moveTo>
                    <a:pt x="4684471" y="2762228"/>
                  </a:moveTo>
                  <a:cubicBezTo>
                    <a:pt x="4513021" y="3358221"/>
                    <a:pt x="4591942" y="3409928"/>
                    <a:pt x="4357899" y="3888899"/>
                  </a:cubicBezTo>
                  <a:cubicBezTo>
                    <a:pt x="4123856" y="4367870"/>
                    <a:pt x="3557800" y="5211514"/>
                    <a:pt x="3280214" y="5636057"/>
                  </a:cubicBezTo>
                  <a:cubicBezTo>
                    <a:pt x="3002628" y="6060600"/>
                    <a:pt x="3062499" y="6060600"/>
                    <a:pt x="2692385" y="6436157"/>
                  </a:cubicBezTo>
                  <a:cubicBezTo>
                    <a:pt x="2322271" y="6811714"/>
                    <a:pt x="1481349" y="7385935"/>
                    <a:pt x="1059528" y="7889399"/>
                  </a:cubicBezTo>
                  <a:cubicBezTo>
                    <a:pt x="637707" y="8392863"/>
                    <a:pt x="322021" y="8915378"/>
                    <a:pt x="161457" y="9456942"/>
                  </a:cubicBezTo>
                  <a:cubicBezTo>
                    <a:pt x="893" y="9998506"/>
                    <a:pt x="-72586" y="10599942"/>
                    <a:pt x="96142" y="11138785"/>
                  </a:cubicBezTo>
                  <a:cubicBezTo>
                    <a:pt x="264870" y="11677628"/>
                    <a:pt x="694857" y="12357985"/>
                    <a:pt x="1173828" y="12689999"/>
                  </a:cubicBezTo>
                  <a:cubicBezTo>
                    <a:pt x="1652799" y="13022013"/>
                    <a:pt x="2248792" y="13168971"/>
                    <a:pt x="2969971" y="13130871"/>
                  </a:cubicBezTo>
                  <a:cubicBezTo>
                    <a:pt x="3691149" y="13092771"/>
                    <a:pt x="4698078" y="12926763"/>
                    <a:pt x="5500899" y="12461399"/>
                  </a:cubicBezTo>
                  <a:cubicBezTo>
                    <a:pt x="6303720" y="11996035"/>
                    <a:pt x="7139199" y="11185049"/>
                    <a:pt x="7786899" y="10338685"/>
                  </a:cubicBezTo>
                  <a:cubicBezTo>
                    <a:pt x="8434599" y="9492321"/>
                    <a:pt x="9114956" y="8458178"/>
                    <a:pt x="9387099" y="7383214"/>
                  </a:cubicBezTo>
                  <a:cubicBezTo>
                    <a:pt x="9659242" y="6308250"/>
                    <a:pt x="9509564" y="4890385"/>
                    <a:pt x="9419757" y="3888899"/>
                  </a:cubicBezTo>
                  <a:cubicBezTo>
                    <a:pt x="9329950" y="2887413"/>
                    <a:pt x="9202043" y="1997506"/>
                    <a:pt x="8848257" y="1374299"/>
                  </a:cubicBezTo>
                  <a:cubicBezTo>
                    <a:pt x="8494471" y="751092"/>
                    <a:pt x="7873985" y="326550"/>
                    <a:pt x="7297042" y="149657"/>
                  </a:cubicBezTo>
                  <a:cubicBezTo>
                    <a:pt x="6720099" y="-27236"/>
                    <a:pt x="5822027" y="-125208"/>
                    <a:pt x="5386599" y="312942"/>
                  </a:cubicBezTo>
                  <a:cubicBezTo>
                    <a:pt x="4951171" y="751092"/>
                    <a:pt x="4855921" y="2166235"/>
                    <a:pt x="4684471" y="2762228"/>
                  </a:cubicBezTo>
                  <a:close/>
                </a:path>
              </a:pathLst>
            </a:custGeom>
            <a:solidFill>
              <a:srgbClr val="00B1EA"/>
            </a:solidFill>
            <a:ln w="76200"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Freihandform 23"/>
            <p:cNvSpPr/>
            <p:nvPr/>
          </p:nvSpPr>
          <p:spPr>
            <a:xfrm>
              <a:off x="8175583" y="1057961"/>
              <a:ext cx="3076913" cy="4628965"/>
            </a:xfrm>
            <a:custGeom>
              <a:avLst/>
              <a:gdLst>
                <a:gd name="connsiteX0" fmla="*/ 2196428 w 3337496"/>
                <a:gd name="connsiteY0" fmla="*/ 14935 h 5020991"/>
                <a:gd name="connsiteX1" fmla="*/ 2186903 w 3337496"/>
                <a:gd name="connsiteY1" fmla="*/ 181622 h 5020991"/>
                <a:gd name="connsiteX2" fmla="*/ 2167853 w 3337496"/>
                <a:gd name="connsiteY2" fmla="*/ 443560 h 5020991"/>
                <a:gd name="connsiteX3" fmla="*/ 2082128 w 3337496"/>
                <a:gd name="connsiteY3" fmla="*/ 1019822 h 5020991"/>
                <a:gd name="connsiteX4" fmla="*/ 1982116 w 3337496"/>
                <a:gd name="connsiteY4" fmla="*/ 1353197 h 5020991"/>
                <a:gd name="connsiteX5" fmla="*/ 1824953 w 3337496"/>
                <a:gd name="connsiteY5" fmla="*/ 1719910 h 5020991"/>
                <a:gd name="connsiteX6" fmla="*/ 1529678 w 3337496"/>
                <a:gd name="connsiteY6" fmla="*/ 2186635 h 5020991"/>
                <a:gd name="connsiteX7" fmla="*/ 1386803 w 3337496"/>
                <a:gd name="connsiteY7" fmla="*/ 2367610 h 5020991"/>
                <a:gd name="connsiteX8" fmla="*/ 886741 w 3337496"/>
                <a:gd name="connsiteY8" fmla="*/ 2891485 h 5020991"/>
                <a:gd name="connsiteX9" fmla="*/ 734341 w 3337496"/>
                <a:gd name="connsiteY9" fmla="*/ 3029597 h 5020991"/>
                <a:gd name="connsiteX10" fmla="*/ 615278 w 3337496"/>
                <a:gd name="connsiteY10" fmla="*/ 3186760 h 5020991"/>
                <a:gd name="connsiteX11" fmla="*/ 367628 w 3337496"/>
                <a:gd name="connsiteY11" fmla="*/ 3539185 h 5020991"/>
                <a:gd name="connsiteX12" fmla="*/ 172366 w 3337496"/>
                <a:gd name="connsiteY12" fmla="*/ 3896372 h 5020991"/>
                <a:gd name="connsiteX13" fmla="*/ 53303 w 3337496"/>
                <a:gd name="connsiteY13" fmla="*/ 4234510 h 5020991"/>
                <a:gd name="connsiteX14" fmla="*/ 10441 w 3337496"/>
                <a:gd name="connsiteY14" fmla="*/ 4491685 h 5020991"/>
                <a:gd name="connsiteX15" fmla="*/ 916 w 3337496"/>
                <a:gd name="connsiteY15" fmla="*/ 4672660 h 5020991"/>
                <a:gd name="connsiteX16" fmla="*/ 916 w 3337496"/>
                <a:gd name="connsiteY16" fmla="*/ 4763147 h 5020991"/>
                <a:gd name="connsiteX17" fmla="*/ 5678 w 3337496"/>
                <a:gd name="connsiteY17" fmla="*/ 4786960 h 5020991"/>
                <a:gd name="connsiteX18" fmla="*/ 5678 w 3337496"/>
                <a:gd name="connsiteY18" fmla="*/ 4801247 h 5020991"/>
                <a:gd name="connsiteX19" fmla="*/ 5678 w 3337496"/>
                <a:gd name="connsiteY19" fmla="*/ 4815535 h 5020991"/>
                <a:gd name="connsiteX20" fmla="*/ 24728 w 3337496"/>
                <a:gd name="connsiteY20" fmla="*/ 4815535 h 5020991"/>
                <a:gd name="connsiteX21" fmla="*/ 91403 w 3337496"/>
                <a:gd name="connsiteY21" fmla="*/ 4853635 h 5020991"/>
                <a:gd name="connsiteX22" fmla="*/ 320003 w 3337496"/>
                <a:gd name="connsiteY22" fmla="*/ 4929835 h 5020991"/>
                <a:gd name="connsiteX23" fmla="*/ 701003 w 3337496"/>
                <a:gd name="connsiteY23" fmla="*/ 5010797 h 5020991"/>
                <a:gd name="connsiteX24" fmla="*/ 1191541 w 3337496"/>
                <a:gd name="connsiteY24" fmla="*/ 4991747 h 5020991"/>
                <a:gd name="connsiteX25" fmla="*/ 1805903 w 3337496"/>
                <a:gd name="connsiteY25" fmla="*/ 4758385 h 5020991"/>
                <a:gd name="connsiteX26" fmla="*/ 2015453 w 3337496"/>
                <a:gd name="connsiteY26" fmla="*/ 4625035 h 5020991"/>
                <a:gd name="connsiteX27" fmla="*/ 2215478 w 3337496"/>
                <a:gd name="connsiteY27" fmla="*/ 4420247 h 5020991"/>
                <a:gd name="connsiteX28" fmla="*/ 2525041 w 3337496"/>
                <a:gd name="connsiteY28" fmla="*/ 4029722 h 5020991"/>
                <a:gd name="connsiteX29" fmla="*/ 2844128 w 3337496"/>
                <a:gd name="connsiteY29" fmla="*/ 3520135 h 5020991"/>
                <a:gd name="connsiteX30" fmla="*/ 3187028 w 3337496"/>
                <a:gd name="connsiteY30" fmla="*/ 2715272 h 5020991"/>
                <a:gd name="connsiteX31" fmla="*/ 3329903 w 3337496"/>
                <a:gd name="connsiteY31" fmla="*/ 1910410 h 5020991"/>
                <a:gd name="connsiteX32" fmla="*/ 3315616 w 3337496"/>
                <a:gd name="connsiteY32" fmla="*/ 1110310 h 5020991"/>
                <a:gd name="connsiteX33" fmla="*/ 3296566 w 3337496"/>
                <a:gd name="connsiteY33" fmla="*/ 1005535 h 5020991"/>
                <a:gd name="connsiteX34" fmla="*/ 3244178 w 3337496"/>
                <a:gd name="connsiteY34" fmla="*/ 895997 h 5020991"/>
                <a:gd name="connsiteX35" fmla="*/ 3010816 w 3337496"/>
                <a:gd name="connsiteY35" fmla="*/ 519760 h 5020991"/>
                <a:gd name="connsiteX36" fmla="*/ 2706016 w 3337496"/>
                <a:gd name="connsiteY36" fmla="*/ 205435 h 5020991"/>
                <a:gd name="connsiteX37" fmla="*/ 2572666 w 3337496"/>
                <a:gd name="connsiteY37" fmla="*/ 114947 h 5020991"/>
                <a:gd name="connsiteX38" fmla="*/ 2486941 w 3337496"/>
                <a:gd name="connsiteY38" fmla="*/ 72085 h 5020991"/>
                <a:gd name="connsiteX39" fmla="*/ 2377403 w 3337496"/>
                <a:gd name="connsiteY39" fmla="*/ 33985 h 5020991"/>
                <a:gd name="connsiteX40" fmla="*/ 2263103 w 3337496"/>
                <a:gd name="connsiteY40" fmla="*/ 10172 h 5020991"/>
                <a:gd name="connsiteX41" fmla="*/ 2196428 w 3337496"/>
                <a:gd name="connsiteY41" fmla="*/ 14935 h 502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37496" h="5020991">
                  <a:moveTo>
                    <a:pt x="2196428" y="14935"/>
                  </a:moveTo>
                  <a:cubicBezTo>
                    <a:pt x="2183728" y="43510"/>
                    <a:pt x="2191665" y="110185"/>
                    <a:pt x="2186903" y="181622"/>
                  </a:cubicBezTo>
                  <a:cubicBezTo>
                    <a:pt x="2182140" y="253060"/>
                    <a:pt x="2185315" y="303860"/>
                    <a:pt x="2167853" y="443560"/>
                  </a:cubicBezTo>
                  <a:cubicBezTo>
                    <a:pt x="2150391" y="583260"/>
                    <a:pt x="2113084" y="868216"/>
                    <a:pt x="2082128" y="1019822"/>
                  </a:cubicBezTo>
                  <a:cubicBezTo>
                    <a:pt x="2051172" y="1171428"/>
                    <a:pt x="2024978" y="1236516"/>
                    <a:pt x="1982116" y="1353197"/>
                  </a:cubicBezTo>
                  <a:cubicBezTo>
                    <a:pt x="1939253" y="1469878"/>
                    <a:pt x="1900359" y="1581004"/>
                    <a:pt x="1824953" y="1719910"/>
                  </a:cubicBezTo>
                  <a:cubicBezTo>
                    <a:pt x="1749547" y="1858816"/>
                    <a:pt x="1602703" y="2078685"/>
                    <a:pt x="1529678" y="2186635"/>
                  </a:cubicBezTo>
                  <a:cubicBezTo>
                    <a:pt x="1456653" y="2294585"/>
                    <a:pt x="1493959" y="2250135"/>
                    <a:pt x="1386803" y="2367610"/>
                  </a:cubicBezTo>
                  <a:cubicBezTo>
                    <a:pt x="1279647" y="2485085"/>
                    <a:pt x="995485" y="2781154"/>
                    <a:pt x="886741" y="2891485"/>
                  </a:cubicBezTo>
                  <a:cubicBezTo>
                    <a:pt x="777997" y="3001816"/>
                    <a:pt x="779585" y="2980385"/>
                    <a:pt x="734341" y="3029597"/>
                  </a:cubicBezTo>
                  <a:cubicBezTo>
                    <a:pt x="689097" y="3078809"/>
                    <a:pt x="676397" y="3101829"/>
                    <a:pt x="615278" y="3186760"/>
                  </a:cubicBezTo>
                  <a:cubicBezTo>
                    <a:pt x="554159" y="3271691"/>
                    <a:pt x="441447" y="3420916"/>
                    <a:pt x="367628" y="3539185"/>
                  </a:cubicBezTo>
                  <a:cubicBezTo>
                    <a:pt x="293809" y="3657454"/>
                    <a:pt x="224754" y="3780484"/>
                    <a:pt x="172366" y="3896372"/>
                  </a:cubicBezTo>
                  <a:cubicBezTo>
                    <a:pt x="119978" y="4012260"/>
                    <a:pt x="80291" y="4135291"/>
                    <a:pt x="53303" y="4234510"/>
                  </a:cubicBezTo>
                  <a:cubicBezTo>
                    <a:pt x="26315" y="4333729"/>
                    <a:pt x="19172" y="4418660"/>
                    <a:pt x="10441" y="4491685"/>
                  </a:cubicBezTo>
                  <a:cubicBezTo>
                    <a:pt x="1710" y="4564710"/>
                    <a:pt x="2503" y="4627416"/>
                    <a:pt x="916" y="4672660"/>
                  </a:cubicBezTo>
                  <a:cubicBezTo>
                    <a:pt x="-671" y="4717904"/>
                    <a:pt x="122" y="4744097"/>
                    <a:pt x="916" y="4763147"/>
                  </a:cubicBezTo>
                  <a:cubicBezTo>
                    <a:pt x="1710" y="4782197"/>
                    <a:pt x="5678" y="4786960"/>
                    <a:pt x="5678" y="4786960"/>
                  </a:cubicBezTo>
                  <a:cubicBezTo>
                    <a:pt x="6472" y="4793310"/>
                    <a:pt x="5678" y="4801247"/>
                    <a:pt x="5678" y="4801247"/>
                  </a:cubicBezTo>
                  <a:lnTo>
                    <a:pt x="5678" y="4815535"/>
                  </a:lnTo>
                  <a:cubicBezTo>
                    <a:pt x="8853" y="4817916"/>
                    <a:pt x="10440" y="4809185"/>
                    <a:pt x="24728" y="4815535"/>
                  </a:cubicBezTo>
                  <a:cubicBezTo>
                    <a:pt x="39016" y="4821885"/>
                    <a:pt x="42190" y="4834585"/>
                    <a:pt x="91403" y="4853635"/>
                  </a:cubicBezTo>
                  <a:cubicBezTo>
                    <a:pt x="140615" y="4872685"/>
                    <a:pt x="218403" y="4903641"/>
                    <a:pt x="320003" y="4929835"/>
                  </a:cubicBezTo>
                  <a:cubicBezTo>
                    <a:pt x="421603" y="4956029"/>
                    <a:pt x="555747" y="5000478"/>
                    <a:pt x="701003" y="5010797"/>
                  </a:cubicBezTo>
                  <a:cubicBezTo>
                    <a:pt x="846259" y="5021116"/>
                    <a:pt x="1007391" y="5033816"/>
                    <a:pt x="1191541" y="4991747"/>
                  </a:cubicBezTo>
                  <a:cubicBezTo>
                    <a:pt x="1375691" y="4949678"/>
                    <a:pt x="1668584" y="4819504"/>
                    <a:pt x="1805903" y="4758385"/>
                  </a:cubicBezTo>
                  <a:cubicBezTo>
                    <a:pt x="1943222" y="4697266"/>
                    <a:pt x="1947190" y="4681391"/>
                    <a:pt x="2015453" y="4625035"/>
                  </a:cubicBezTo>
                  <a:cubicBezTo>
                    <a:pt x="2083715" y="4568679"/>
                    <a:pt x="2130547" y="4519466"/>
                    <a:pt x="2215478" y="4420247"/>
                  </a:cubicBezTo>
                  <a:cubicBezTo>
                    <a:pt x="2300409" y="4321028"/>
                    <a:pt x="2420266" y="4179741"/>
                    <a:pt x="2525041" y="4029722"/>
                  </a:cubicBezTo>
                  <a:cubicBezTo>
                    <a:pt x="2629816" y="3879703"/>
                    <a:pt x="2733797" y="3739210"/>
                    <a:pt x="2844128" y="3520135"/>
                  </a:cubicBezTo>
                  <a:cubicBezTo>
                    <a:pt x="2954459" y="3301060"/>
                    <a:pt x="3106066" y="2983559"/>
                    <a:pt x="3187028" y="2715272"/>
                  </a:cubicBezTo>
                  <a:cubicBezTo>
                    <a:pt x="3267990" y="2446985"/>
                    <a:pt x="3308472" y="2177903"/>
                    <a:pt x="3329903" y="1910410"/>
                  </a:cubicBezTo>
                  <a:cubicBezTo>
                    <a:pt x="3351334" y="1642917"/>
                    <a:pt x="3321172" y="1261122"/>
                    <a:pt x="3315616" y="1110310"/>
                  </a:cubicBezTo>
                  <a:cubicBezTo>
                    <a:pt x="3310060" y="959498"/>
                    <a:pt x="3308472" y="1041254"/>
                    <a:pt x="3296566" y="1005535"/>
                  </a:cubicBezTo>
                  <a:cubicBezTo>
                    <a:pt x="3284660" y="969816"/>
                    <a:pt x="3291803" y="976960"/>
                    <a:pt x="3244178" y="895997"/>
                  </a:cubicBezTo>
                  <a:cubicBezTo>
                    <a:pt x="3196553" y="815035"/>
                    <a:pt x="3100510" y="634854"/>
                    <a:pt x="3010816" y="519760"/>
                  </a:cubicBezTo>
                  <a:cubicBezTo>
                    <a:pt x="2921122" y="404666"/>
                    <a:pt x="2779041" y="272904"/>
                    <a:pt x="2706016" y="205435"/>
                  </a:cubicBezTo>
                  <a:cubicBezTo>
                    <a:pt x="2632991" y="137966"/>
                    <a:pt x="2609178" y="137172"/>
                    <a:pt x="2572666" y="114947"/>
                  </a:cubicBezTo>
                  <a:cubicBezTo>
                    <a:pt x="2536154" y="92722"/>
                    <a:pt x="2519485" y="85579"/>
                    <a:pt x="2486941" y="72085"/>
                  </a:cubicBezTo>
                  <a:cubicBezTo>
                    <a:pt x="2454397" y="58591"/>
                    <a:pt x="2414709" y="44304"/>
                    <a:pt x="2377403" y="33985"/>
                  </a:cubicBezTo>
                  <a:cubicBezTo>
                    <a:pt x="2340097" y="23666"/>
                    <a:pt x="2290091" y="13347"/>
                    <a:pt x="2263103" y="10172"/>
                  </a:cubicBezTo>
                  <a:cubicBezTo>
                    <a:pt x="2236115" y="6997"/>
                    <a:pt x="2209128" y="-13640"/>
                    <a:pt x="2196428" y="14935"/>
                  </a:cubicBezTo>
                  <a:close/>
                </a:path>
              </a:pathLst>
            </a:custGeom>
            <a:pattFill prst="pct80">
              <a:fgClr>
                <a:srgbClr val="EF7C00"/>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Freihandform 24"/>
            <p:cNvSpPr/>
            <p:nvPr/>
          </p:nvSpPr>
          <p:spPr>
            <a:xfrm>
              <a:off x="8400036" y="1406349"/>
              <a:ext cx="2761532" cy="4156901"/>
            </a:xfrm>
            <a:custGeom>
              <a:avLst/>
              <a:gdLst>
                <a:gd name="connsiteX0" fmla="*/ 1940642 w 2995406"/>
                <a:gd name="connsiteY0" fmla="*/ 589687 h 4508948"/>
                <a:gd name="connsiteX1" fmla="*/ 1778717 w 2995406"/>
                <a:gd name="connsiteY1" fmla="*/ 1089749 h 4508948"/>
                <a:gd name="connsiteX2" fmla="*/ 1483442 w 2995406"/>
                <a:gd name="connsiteY2" fmla="*/ 1670774 h 4508948"/>
                <a:gd name="connsiteX3" fmla="*/ 1140542 w 2995406"/>
                <a:gd name="connsiteY3" fmla="*/ 2180362 h 4508948"/>
                <a:gd name="connsiteX4" fmla="*/ 692867 w 2995406"/>
                <a:gd name="connsiteY4" fmla="*/ 2689949 h 4508948"/>
                <a:gd name="connsiteX5" fmla="*/ 335680 w 2995406"/>
                <a:gd name="connsiteY5" fmla="*/ 3132862 h 4508948"/>
                <a:gd name="connsiteX6" fmla="*/ 126130 w 2995406"/>
                <a:gd name="connsiteY6" fmla="*/ 3480524 h 4508948"/>
                <a:gd name="connsiteX7" fmla="*/ 21355 w 2995406"/>
                <a:gd name="connsiteY7" fmla="*/ 3799612 h 4508948"/>
                <a:gd name="connsiteX8" fmla="*/ 26117 w 2995406"/>
                <a:gd name="connsiteY8" fmla="*/ 4128224 h 4508948"/>
                <a:gd name="connsiteX9" fmla="*/ 292817 w 2995406"/>
                <a:gd name="connsiteY9" fmla="*/ 4418737 h 4508948"/>
                <a:gd name="connsiteX10" fmla="*/ 878605 w 2995406"/>
                <a:gd name="connsiteY10" fmla="*/ 4490174 h 4508948"/>
                <a:gd name="connsiteX11" fmla="*/ 1678705 w 2995406"/>
                <a:gd name="connsiteY11" fmla="*/ 4113937 h 4508948"/>
                <a:gd name="connsiteX12" fmla="*/ 2274017 w 2995406"/>
                <a:gd name="connsiteY12" fmla="*/ 3466237 h 4508948"/>
                <a:gd name="connsiteX13" fmla="*/ 2635967 w 2995406"/>
                <a:gd name="connsiteY13" fmla="*/ 2851874 h 4508948"/>
                <a:gd name="connsiteX14" fmla="*/ 2874092 w 2995406"/>
                <a:gd name="connsiteY14" fmla="*/ 2166074 h 4508948"/>
                <a:gd name="connsiteX15" fmla="*/ 2993155 w 2995406"/>
                <a:gd name="connsiteY15" fmla="*/ 1408837 h 4508948"/>
                <a:gd name="connsiteX16" fmla="*/ 2936005 w 2995406"/>
                <a:gd name="connsiteY16" fmla="*/ 889724 h 4508948"/>
                <a:gd name="connsiteX17" fmla="*/ 2745505 w 2995406"/>
                <a:gd name="connsiteY17" fmla="*/ 437287 h 4508948"/>
                <a:gd name="connsiteX18" fmla="*/ 2426417 w 2995406"/>
                <a:gd name="connsiteY18" fmla="*/ 89624 h 4508948"/>
                <a:gd name="connsiteX19" fmla="*/ 2297830 w 2995406"/>
                <a:gd name="connsiteY19" fmla="*/ 8662 h 4508948"/>
                <a:gd name="connsiteX20" fmla="*/ 2226392 w 2995406"/>
                <a:gd name="connsiteY20" fmla="*/ 3899 h 4508948"/>
                <a:gd name="connsiteX21" fmla="*/ 2174005 w 2995406"/>
                <a:gd name="connsiteY21" fmla="*/ 22949 h 4508948"/>
                <a:gd name="connsiteX22" fmla="*/ 2097805 w 2995406"/>
                <a:gd name="connsiteY22" fmla="*/ 151537 h 4508948"/>
                <a:gd name="connsiteX23" fmla="*/ 1940642 w 2995406"/>
                <a:gd name="connsiteY23" fmla="*/ 589687 h 450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95406" h="4508948">
                  <a:moveTo>
                    <a:pt x="1940642" y="589687"/>
                  </a:moveTo>
                  <a:cubicBezTo>
                    <a:pt x="1887461" y="746056"/>
                    <a:pt x="1854917" y="909568"/>
                    <a:pt x="1778717" y="1089749"/>
                  </a:cubicBezTo>
                  <a:cubicBezTo>
                    <a:pt x="1702517" y="1269930"/>
                    <a:pt x="1589804" y="1489005"/>
                    <a:pt x="1483442" y="1670774"/>
                  </a:cubicBezTo>
                  <a:cubicBezTo>
                    <a:pt x="1377080" y="1852543"/>
                    <a:pt x="1272304" y="2010500"/>
                    <a:pt x="1140542" y="2180362"/>
                  </a:cubicBezTo>
                  <a:cubicBezTo>
                    <a:pt x="1008780" y="2350224"/>
                    <a:pt x="827011" y="2531199"/>
                    <a:pt x="692867" y="2689949"/>
                  </a:cubicBezTo>
                  <a:cubicBezTo>
                    <a:pt x="558723" y="2848699"/>
                    <a:pt x="430136" y="3001100"/>
                    <a:pt x="335680" y="3132862"/>
                  </a:cubicBezTo>
                  <a:cubicBezTo>
                    <a:pt x="241224" y="3264625"/>
                    <a:pt x="178517" y="3369399"/>
                    <a:pt x="126130" y="3480524"/>
                  </a:cubicBezTo>
                  <a:cubicBezTo>
                    <a:pt x="73743" y="3591649"/>
                    <a:pt x="38024" y="3691662"/>
                    <a:pt x="21355" y="3799612"/>
                  </a:cubicBezTo>
                  <a:cubicBezTo>
                    <a:pt x="4686" y="3907562"/>
                    <a:pt x="-19127" y="4025036"/>
                    <a:pt x="26117" y="4128224"/>
                  </a:cubicBezTo>
                  <a:cubicBezTo>
                    <a:pt x="71361" y="4231412"/>
                    <a:pt x="150736" y="4358412"/>
                    <a:pt x="292817" y="4418737"/>
                  </a:cubicBezTo>
                  <a:cubicBezTo>
                    <a:pt x="434898" y="4479062"/>
                    <a:pt x="647624" y="4540974"/>
                    <a:pt x="878605" y="4490174"/>
                  </a:cubicBezTo>
                  <a:cubicBezTo>
                    <a:pt x="1109586" y="4439374"/>
                    <a:pt x="1446136" y="4284593"/>
                    <a:pt x="1678705" y="4113937"/>
                  </a:cubicBezTo>
                  <a:cubicBezTo>
                    <a:pt x="1911274" y="3943281"/>
                    <a:pt x="2114473" y="3676581"/>
                    <a:pt x="2274017" y="3466237"/>
                  </a:cubicBezTo>
                  <a:cubicBezTo>
                    <a:pt x="2433561" y="3255893"/>
                    <a:pt x="2535955" y="3068568"/>
                    <a:pt x="2635967" y="2851874"/>
                  </a:cubicBezTo>
                  <a:cubicBezTo>
                    <a:pt x="2735979" y="2635180"/>
                    <a:pt x="2814561" y="2406580"/>
                    <a:pt x="2874092" y="2166074"/>
                  </a:cubicBezTo>
                  <a:cubicBezTo>
                    <a:pt x="2933623" y="1925568"/>
                    <a:pt x="2982836" y="1621562"/>
                    <a:pt x="2993155" y="1408837"/>
                  </a:cubicBezTo>
                  <a:cubicBezTo>
                    <a:pt x="3003474" y="1196112"/>
                    <a:pt x="2977280" y="1051649"/>
                    <a:pt x="2936005" y="889724"/>
                  </a:cubicBezTo>
                  <a:cubicBezTo>
                    <a:pt x="2894730" y="727799"/>
                    <a:pt x="2830436" y="570637"/>
                    <a:pt x="2745505" y="437287"/>
                  </a:cubicBezTo>
                  <a:cubicBezTo>
                    <a:pt x="2660574" y="303937"/>
                    <a:pt x="2501030" y="161061"/>
                    <a:pt x="2426417" y="89624"/>
                  </a:cubicBezTo>
                  <a:cubicBezTo>
                    <a:pt x="2351805" y="18186"/>
                    <a:pt x="2331167" y="22949"/>
                    <a:pt x="2297830" y="8662"/>
                  </a:cubicBezTo>
                  <a:cubicBezTo>
                    <a:pt x="2264493" y="-5625"/>
                    <a:pt x="2247030" y="1518"/>
                    <a:pt x="2226392" y="3899"/>
                  </a:cubicBezTo>
                  <a:cubicBezTo>
                    <a:pt x="2205755" y="6280"/>
                    <a:pt x="2195436" y="-1657"/>
                    <a:pt x="2174005" y="22949"/>
                  </a:cubicBezTo>
                  <a:cubicBezTo>
                    <a:pt x="2152574" y="47555"/>
                    <a:pt x="2135905" y="57875"/>
                    <a:pt x="2097805" y="151537"/>
                  </a:cubicBezTo>
                  <a:cubicBezTo>
                    <a:pt x="2059705" y="245199"/>
                    <a:pt x="1993823" y="433318"/>
                    <a:pt x="1940642" y="589687"/>
                  </a:cubicBezTo>
                  <a:close/>
                </a:path>
              </a:pathLst>
            </a:cu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Freihandform 25"/>
            <p:cNvSpPr/>
            <p:nvPr/>
          </p:nvSpPr>
          <p:spPr>
            <a:xfrm>
              <a:off x="8942419" y="1048051"/>
              <a:ext cx="1250238" cy="2692230"/>
            </a:xfrm>
            <a:custGeom>
              <a:avLst/>
              <a:gdLst>
                <a:gd name="connsiteX0" fmla="*/ 1347562 w 1356120"/>
                <a:gd name="connsiteY0" fmla="*/ 11541 h 2920235"/>
                <a:gd name="connsiteX1" fmla="*/ 1333274 w 1356120"/>
                <a:gd name="connsiteY1" fmla="*/ 330629 h 2920235"/>
                <a:gd name="connsiteX2" fmla="*/ 1290412 w 1356120"/>
                <a:gd name="connsiteY2" fmla="*/ 792591 h 2920235"/>
                <a:gd name="connsiteX3" fmla="*/ 1147537 w 1356120"/>
                <a:gd name="connsiteY3" fmla="*/ 1364091 h 2920235"/>
                <a:gd name="connsiteX4" fmla="*/ 718912 w 1356120"/>
                <a:gd name="connsiteY4" fmla="*/ 2164191 h 2920235"/>
                <a:gd name="connsiteX5" fmla="*/ 185512 w 1356120"/>
                <a:gd name="connsiteY5" fmla="*/ 2764266 h 2920235"/>
                <a:gd name="connsiteX6" fmla="*/ 9299 w 1356120"/>
                <a:gd name="connsiteY6" fmla="*/ 2911904 h 2920235"/>
                <a:gd name="connsiteX7" fmla="*/ 37874 w 1356120"/>
                <a:gd name="connsiteY7" fmla="*/ 2888091 h 2920235"/>
                <a:gd name="connsiteX8" fmla="*/ 152174 w 1356120"/>
                <a:gd name="connsiteY8" fmla="*/ 2773791 h 2920235"/>
                <a:gd name="connsiteX9" fmla="*/ 685574 w 1356120"/>
                <a:gd name="connsiteY9" fmla="*/ 2087991 h 2920235"/>
                <a:gd name="connsiteX10" fmla="*/ 1028474 w 1356120"/>
                <a:gd name="connsiteY10" fmla="*/ 1411716 h 2920235"/>
                <a:gd name="connsiteX11" fmla="*/ 1199924 w 1356120"/>
                <a:gd name="connsiteY11" fmla="*/ 744966 h 2920235"/>
                <a:gd name="connsiteX12" fmla="*/ 1347562 w 1356120"/>
                <a:gd name="connsiteY12" fmla="*/ 11541 h 292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6120" h="2920235">
                  <a:moveTo>
                    <a:pt x="1347562" y="11541"/>
                  </a:moveTo>
                  <a:cubicBezTo>
                    <a:pt x="1369787" y="-57515"/>
                    <a:pt x="1342799" y="200454"/>
                    <a:pt x="1333274" y="330629"/>
                  </a:cubicBezTo>
                  <a:cubicBezTo>
                    <a:pt x="1323749" y="460804"/>
                    <a:pt x="1321368" y="620347"/>
                    <a:pt x="1290412" y="792591"/>
                  </a:cubicBezTo>
                  <a:cubicBezTo>
                    <a:pt x="1259456" y="964835"/>
                    <a:pt x="1242787" y="1135491"/>
                    <a:pt x="1147537" y="1364091"/>
                  </a:cubicBezTo>
                  <a:cubicBezTo>
                    <a:pt x="1052287" y="1592691"/>
                    <a:pt x="879249" y="1930829"/>
                    <a:pt x="718912" y="2164191"/>
                  </a:cubicBezTo>
                  <a:cubicBezTo>
                    <a:pt x="558575" y="2397553"/>
                    <a:pt x="303781" y="2639647"/>
                    <a:pt x="185512" y="2764266"/>
                  </a:cubicBezTo>
                  <a:cubicBezTo>
                    <a:pt x="67243" y="2888885"/>
                    <a:pt x="33905" y="2891267"/>
                    <a:pt x="9299" y="2911904"/>
                  </a:cubicBezTo>
                  <a:cubicBezTo>
                    <a:pt x="-15307" y="2932542"/>
                    <a:pt x="14062" y="2911110"/>
                    <a:pt x="37874" y="2888091"/>
                  </a:cubicBezTo>
                  <a:cubicBezTo>
                    <a:pt x="61686" y="2865072"/>
                    <a:pt x="44224" y="2907141"/>
                    <a:pt x="152174" y="2773791"/>
                  </a:cubicBezTo>
                  <a:cubicBezTo>
                    <a:pt x="260124" y="2640441"/>
                    <a:pt x="539524" y="2315004"/>
                    <a:pt x="685574" y="2087991"/>
                  </a:cubicBezTo>
                  <a:cubicBezTo>
                    <a:pt x="831624" y="1860979"/>
                    <a:pt x="942749" y="1635553"/>
                    <a:pt x="1028474" y="1411716"/>
                  </a:cubicBezTo>
                  <a:cubicBezTo>
                    <a:pt x="1114199" y="1187879"/>
                    <a:pt x="1148330" y="976741"/>
                    <a:pt x="1199924" y="744966"/>
                  </a:cubicBezTo>
                  <a:cubicBezTo>
                    <a:pt x="1251518" y="513191"/>
                    <a:pt x="1325337" y="80597"/>
                    <a:pt x="1347562" y="11541"/>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 name="Freihandform 26"/>
            <p:cNvSpPr/>
            <p:nvPr/>
          </p:nvSpPr>
          <p:spPr>
            <a:xfrm>
              <a:off x="8002423" y="3810679"/>
              <a:ext cx="877619" cy="1682691"/>
            </a:xfrm>
            <a:custGeom>
              <a:avLst/>
              <a:gdLst>
                <a:gd name="connsiteX0" fmla="*/ 943178 w 951944"/>
                <a:gd name="connsiteY0" fmla="*/ 5796 h 1825198"/>
                <a:gd name="connsiteX1" fmla="*/ 666953 w 951944"/>
                <a:gd name="connsiteY1" fmla="*/ 367746 h 1825198"/>
                <a:gd name="connsiteX2" fmla="*/ 366916 w 951944"/>
                <a:gd name="connsiteY2" fmla="*/ 867809 h 1825198"/>
                <a:gd name="connsiteX3" fmla="*/ 247853 w 951944"/>
                <a:gd name="connsiteY3" fmla="*/ 1191659 h 1825198"/>
                <a:gd name="connsiteX4" fmla="*/ 171653 w 951944"/>
                <a:gd name="connsiteY4" fmla="*/ 1605996 h 1825198"/>
                <a:gd name="connsiteX5" fmla="*/ 185941 w 951944"/>
                <a:gd name="connsiteY5" fmla="*/ 1753634 h 1825198"/>
                <a:gd name="connsiteX6" fmla="*/ 185941 w 951944"/>
                <a:gd name="connsiteY6" fmla="*/ 1801259 h 1825198"/>
                <a:gd name="connsiteX7" fmla="*/ 185941 w 951944"/>
                <a:gd name="connsiteY7" fmla="*/ 1825071 h 1825198"/>
                <a:gd name="connsiteX8" fmla="*/ 176416 w 951944"/>
                <a:gd name="connsiteY8" fmla="*/ 1791734 h 1825198"/>
                <a:gd name="connsiteX9" fmla="*/ 128791 w 951944"/>
                <a:gd name="connsiteY9" fmla="*/ 1663146 h 1825198"/>
                <a:gd name="connsiteX10" fmla="*/ 203 w 951944"/>
                <a:gd name="connsiteY10" fmla="*/ 1353584 h 1825198"/>
                <a:gd name="connsiteX11" fmla="*/ 104978 w 951944"/>
                <a:gd name="connsiteY11" fmla="*/ 1001159 h 1825198"/>
                <a:gd name="connsiteX12" fmla="*/ 324053 w 951944"/>
                <a:gd name="connsiteY12" fmla="*/ 658259 h 1825198"/>
                <a:gd name="connsiteX13" fmla="*/ 943178 w 951944"/>
                <a:gd name="connsiteY13" fmla="*/ 5796 h 1825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1944" h="1825198">
                  <a:moveTo>
                    <a:pt x="943178" y="5796"/>
                  </a:moveTo>
                  <a:cubicBezTo>
                    <a:pt x="1000328" y="-42623"/>
                    <a:pt x="762997" y="224077"/>
                    <a:pt x="666953" y="367746"/>
                  </a:cubicBezTo>
                  <a:cubicBezTo>
                    <a:pt x="570909" y="511415"/>
                    <a:pt x="436766" y="730490"/>
                    <a:pt x="366916" y="867809"/>
                  </a:cubicBezTo>
                  <a:cubicBezTo>
                    <a:pt x="297066" y="1005128"/>
                    <a:pt x="280397" y="1068628"/>
                    <a:pt x="247853" y="1191659"/>
                  </a:cubicBezTo>
                  <a:cubicBezTo>
                    <a:pt x="215309" y="1314690"/>
                    <a:pt x="181972" y="1512333"/>
                    <a:pt x="171653" y="1605996"/>
                  </a:cubicBezTo>
                  <a:cubicBezTo>
                    <a:pt x="161334" y="1699659"/>
                    <a:pt x="183560" y="1721090"/>
                    <a:pt x="185941" y="1753634"/>
                  </a:cubicBezTo>
                  <a:cubicBezTo>
                    <a:pt x="188322" y="1786178"/>
                    <a:pt x="185941" y="1801259"/>
                    <a:pt x="185941" y="1801259"/>
                  </a:cubicBezTo>
                  <a:cubicBezTo>
                    <a:pt x="185941" y="1813165"/>
                    <a:pt x="187528" y="1826658"/>
                    <a:pt x="185941" y="1825071"/>
                  </a:cubicBezTo>
                  <a:cubicBezTo>
                    <a:pt x="184354" y="1823484"/>
                    <a:pt x="185941" y="1818721"/>
                    <a:pt x="176416" y="1791734"/>
                  </a:cubicBezTo>
                  <a:cubicBezTo>
                    <a:pt x="166891" y="1764747"/>
                    <a:pt x="158160" y="1736171"/>
                    <a:pt x="128791" y="1663146"/>
                  </a:cubicBezTo>
                  <a:cubicBezTo>
                    <a:pt x="99422" y="1590121"/>
                    <a:pt x="4172" y="1463915"/>
                    <a:pt x="203" y="1353584"/>
                  </a:cubicBezTo>
                  <a:cubicBezTo>
                    <a:pt x="-3766" y="1243253"/>
                    <a:pt x="51003" y="1117046"/>
                    <a:pt x="104978" y="1001159"/>
                  </a:cubicBezTo>
                  <a:cubicBezTo>
                    <a:pt x="158953" y="885272"/>
                    <a:pt x="189115" y="822565"/>
                    <a:pt x="324053" y="658259"/>
                  </a:cubicBezTo>
                  <a:cubicBezTo>
                    <a:pt x="458990" y="493953"/>
                    <a:pt x="886028" y="54215"/>
                    <a:pt x="943178" y="5796"/>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8" name="Freihandform 27"/>
            <p:cNvSpPr/>
            <p:nvPr/>
          </p:nvSpPr>
          <p:spPr>
            <a:xfrm>
              <a:off x="8181011" y="5316908"/>
              <a:ext cx="1873704" cy="556471"/>
            </a:xfrm>
            <a:custGeom>
              <a:avLst/>
              <a:gdLst>
                <a:gd name="connsiteX0" fmla="*/ 1754 w 2032388"/>
                <a:gd name="connsiteY0" fmla="*/ 200805 h 603598"/>
                <a:gd name="connsiteX1" fmla="*/ 258929 w 2032388"/>
                <a:gd name="connsiteY1" fmla="*/ 305580 h 603598"/>
                <a:gd name="connsiteX2" fmla="*/ 749466 w 2032388"/>
                <a:gd name="connsiteY2" fmla="*/ 405593 h 603598"/>
                <a:gd name="connsiteX3" fmla="*/ 1249529 w 2032388"/>
                <a:gd name="connsiteY3" fmla="*/ 367493 h 603598"/>
                <a:gd name="connsiteX4" fmla="*/ 1716254 w 2032388"/>
                <a:gd name="connsiteY4" fmla="*/ 191280 h 603598"/>
                <a:gd name="connsiteX5" fmla="*/ 1901991 w 2032388"/>
                <a:gd name="connsiteY5" fmla="*/ 86505 h 603598"/>
                <a:gd name="connsiteX6" fmla="*/ 1982954 w 2032388"/>
                <a:gd name="connsiteY6" fmla="*/ 43643 h 603598"/>
                <a:gd name="connsiteX7" fmla="*/ 2030579 w 2032388"/>
                <a:gd name="connsiteY7" fmla="*/ 780 h 603598"/>
                <a:gd name="connsiteX8" fmla="*/ 2016291 w 2032388"/>
                <a:gd name="connsiteY8" fmla="*/ 19830 h 603598"/>
                <a:gd name="connsiteX9" fmla="*/ 1959141 w 2032388"/>
                <a:gd name="connsiteY9" fmla="*/ 67455 h 603598"/>
                <a:gd name="connsiteX10" fmla="*/ 1897229 w 2032388"/>
                <a:gd name="connsiteY10" fmla="*/ 119843 h 603598"/>
                <a:gd name="connsiteX11" fmla="*/ 1254291 w 2032388"/>
                <a:gd name="connsiteY11" fmla="*/ 481793 h 603598"/>
                <a:gd name="connsiteX12" fmla="*/ 773279 w 2032388"/>
                <a:gd name="connsiteY12" fmla="*/ 600855 h 603598"/>
                <a:gd name="connsiteX13" fmla="*/ 377991 w 2032388"/>
                <a:gd name="connsiteY13" fmla="*/ 534180 h 603598"/>
                <a:gd name="connsiteX14" fmla="*/ 1754 w 2032388"/>
                <a:gd name="connsiteY14" fmla="*/ 200805 h 60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2388" h="603598">
                  <a:moveTo>
                    <a:pt x="1754" y="200805"/>
                  </a:moveTo>
                  <a:cubicBezTo>
                    <a:pt x="-18090" y="162705"/>
                    <a:pt x="134310" y="271449"/>
                    <a:pt x="258929" y="305580"/>
                  </a:cubicBezTo>
                  <a:cubicBezTo>
                    <a:pt x="383548" y="339711"/>
                    <a:pt x="584366" y="395274"/>
                    <a:pt x="749466" y="405593"/>
                  </a:cubicBezTo>
                  <a:cubicBezTo>
                    <a:pt x="914566" y="415912"/>
                    <a:pt x="1088398" y="403212"/>
                    <a:pt x="1249529" y="367493"/>
                  </a:cubicBezTo>
                  <a:cubicBezTo>
                    <a:pt x="1410660" y="331774"/>
                    <a:pt x="1607510" y="238111"/>
                    <a:pt x="1716254" y="191280"/>
                  </a:cubicBezTo>
                  <a:cubicBezTo>
                    <a:pt x="1824998" y="144449"/>
                    <a:pt x="1857541" y="111111"/>
                    <a:pt x="1901991" y="86505"/>
                  </a:cubicBezTo>
                  <a:cubicBezTo>
                    <a:pt x="1946441" y="61899"/>
                    <a:pt x="1961523" y="57930"/>
                    <a:pt x="1982954" y="43643"/>
                  </a:cubicBezTo>
                  <a:cubicBezTo>
                    <a:pt x="2004385" y="29356"/>
                    <a:pt x="2030579" y="780"/>
                    <a:pt x="2030579" y="780"/>
                  </a:cubicBezTo>
                  <a:cubicBezTo>
                    <a:pt x="2036135" y="-3189"/>
                    <a:pt x="2028197" y="8718"/>
                    <a:pt x="2016291" y="19830"/>
                  </a:cubicBezTo>
                  <a:cubicBezTo>
                    <a:pt x="2004385" y="30942"/>
                    <a:pt x="1959141" y="67455"/>
                    <a:pt x="1959141" y="67455"/>
                  </a:cubicBezTo>
                  <a:cubicBezTo>
                    <a:pt x="1939297" y="84124"/>
                    <a:pt x="2014704" y="50787"/>
                    <a:pt x="1897229" y="119843"/>
                  </a:cubicBezTo>
                  <a:cubicBezTo>
                    <a:pt x="1779754" y="188899"/>
                    <a:pt x="1441616" y="401624"/>
                    <a:pt x="1254291" y="481793"/>
                  </a:cubicBezTo>
                  <a:cubicBezTo>
                    <a:pt x="1066966" y="561962"/>
                    <a:pt x="919329" y="592124"/>
                    <a:pt x="773279" y="600855"/>
                  </a:cubicBezTo>
                  <a:cubicBezTo>
                    <a:pt x="627229" y="609586"/>
                    <a:pt x="506578" y="600061"/>
                    <a:pt x="377991" y="534180"/>
                  </a:cubicBezTo>
                  <a:cubicBezTo>
                    <a:pt x="249404" y="468299"/>
                    <a:pt x="21598" y="238905"/>
                    <a:pt x="1754" y="20080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Freihandform 28"/>
            <p:cNvSpPr/>
            <p:nvPr/>
          </p:nvSpPr>
          <p:spPr>
            <a:xfrm>
              <a:off x="10051476" y="1972307"/>
              <a:ext cx="1259813" cy="3359158"/>
            </a:xfrm>
            <a:custGeom>
              <a:avLst/>
              <a:gdLst>
                <a:gd name="connsiteX0" fmla="*/ 1270117 w 1366507"/>
                <a:gd name="connsiteY0" fmla="*/ 9135 h 3643644"/>
                <a:gd name="connsiteX1" fmla="*/ 1301867 w 1366507"/>
                <a:gd name="connsiteY1" fmla="*/ 644135 h 3643644"/>
                <a:gd name="connsiteX2" fmla="*/ 1181217 w 1366507"/>
                <a:gd name="connsiteY2" fmla="*/ 1628385 h 3643644"/>
                <a:gd name="connsiteX3" fmla="*/ 863717 w 1366507"/>
                <a:gd name="connsiteY3" fmla="*/ 2422135 h 3643644"/>
                <a:gd name="connsiteX4" fmla="*/ 450967 w 1366507"/>
                <a:gd name="connsiteY4" fmla="*/ 3101585 h 3643644"/>
                <a:gd name="connsiteX5" fmla="*/ 38217 w 1366507"/>
                <a:gd name="connsiteY5" fmla="*/ 3603235 h 3643644"/>
                <a:gd name="connsiteX6" fmla="*/ 31867 w 1366507"/>
                <a:gd name="connsiteY6" fmla="*/ 3603235 h 3643644"/>
                <a:gd name="connsiteX7" fmla="*/ 158867 w 1366507"/>
                <a:gd name="connsiteY7" fmla="*/ 3520685 h 3643644"/>
                <a:gd name="connsiteX8" fmla="*/ 882767 w 1366507"/>
                <a:gd name="connsiteY8" fmla="*/ 2561835 h 3643644"/>
                <a:gd name="connsiteX9" fmla="*/ 1212967 w 1366507"/>
                <a:gd name="connsiteY9" fmla="*/ 1844285 h 3643644"/>
                <a:gd name="connsiteX10" fmla="*/ 1365367 w 1366507"/>
                <a:gd name="connsiteY10" fmla="*/ 1114035 h 3643644"/>
                <a:gd name="connsiteX11" fmla="*/ 1270117 w 1366507"/>
                <a:gd name="connsiteY11" fmla="*/ 9135 h 364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6507" h="3643644">
                  <a:moveTo>
                    <a:pt x="1270117" y="9135"/>
                  </a:moveTo>
                  <a:cubicBezTo>
                    <a:pt x="1259534" y="-69182"/>
                    <a:pt x="1316684" y="374260"/>
                    <a:pt x="1301867" y="644135"/>
                  </a:cubicBezTo>
                  <a:cubicBezTo>
                    <a:pt x="1287050" y="914010"/>
                    <a:pt x="1254242" y="1332052"/>
                    <a:pt x="1181217" y="1628385"/>
                  </a:cubicBezTo>
                  <a:cubicBezTo>
                    <a:pt x="1108192" y="1924718"/>
                    <a:pt x="985425" y="2176602"/>
                    <a:pt x="863717" y="2422135"/>
                  </a:cubicBezTo>
                  <a:cubicBezTo>
                    <a:pt x="742009" y="2667668"/>
                    <a:pt x="588550" y="2904735"/>
                    <a:pt x="450967" y="3101585"/>
                  </a:cubicBezTo>
                  <a:cubicBezTo>
                    <a:pt x="313384" y="3298435"/>
                    <a:pt x="38217" y="3603235"/>
                    <a:pt x="38217" y="3603235"/>
                  </a:cubicBezTo>
                  <a:cubicBezTo>
                    <a:pt x="-31633" y="3686843"/>
                    <a:pt x="11759" y="3616993"/>
                    <a:pt x="31867" y="3603235"/>
                  </a:cubicBezTo>
                  <a:cubicBezTo>
                    <a:pt x="51975" y="3589477"/>
                    <a:pt x="17050" y="3694252"/>
                    <a:pt x="158867" y="3520685"/>
                  </a:cubicBezTo>
                  <a:cubicBezTo>
                    <a:pt x="300684" y="3347118"/>
                    <a:pt x="707084" y="2841235"/>
                    <a:pt x="882767" y="2561835"/>
                  </a:cubicBezTo>
                  <a:cubicBezTo>
                    <a:pt x="1058450" y="2282435"/>
                    <a:pt x="1132534" y="2085585"/>
                    <a:pt x="1212967" y="1844285"/>
                  </a:cubicBezTo>
                  <a:cubicBezTo>
                    <a:pt x="1293400" y="1602985"/>
                    <a:pt x="1352667" y="1415660"/>
                    <a:pt x="1365367" y="1114035"/>
                  </a:cubicBezTo>
                  <a:cubicBezTo>
                    <a:pt x="1378067" y="812410"/>
                    <a:pt x="1280700" y="87452"/>
                    <a:pt x="1270117" y="913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Freihandform 29"/>
            <p:cNvSpPr/>
            <p:nvPr/>
          </p:nvSpPr>
          <p:spPr>
            <a:xfrm>
              <a:off x="10196098" y="772614"/>
              <a:ext cx="994173" cy="1138737"/>
            </a:xfrm>
            <a:custGeom>
              <a:avLst/>
              <a:gdLst>
                <a:gd name="connsiteX0" fmla="*/ 1996 w 1078369"/>
                <a:gd name="connsiteY0" fmla="*/ 307129 h 1235176"/>
                <a:gd name="connsiteX1" fmla="*/ 116296 w 1078369"/>
                <a:gd name="connsiteY1" fmla="*/ 319829 h 1235176"/>
                <a:gd name="connsiteX2" fmla="*/ 287746 w 1078369"/>
                <a:gd name="connsiteY2" fmla="*/ 370629 h 1235176"/>
                <a:gd name="connsiteX3" fmla="*/ 503646 w 1078369"/>
                <a:gd name="connsiteY3" fmla="*/ 484929 h 1235176"/>
                <a:gd name="connsiteX4" fmla="*/ 770346 w 1078369"/>
                <a:gd name="connsiteY4" fmla="*/ 764329 h 1235176"/>
                <a:gd name="connsiteX5" fmla="*/ 1024346 w 1078369"/>
                <a:gd name="connsiteY5" fmla="*/ 1138979 h 1235176"/>
                <a:gd name="connsiteX6" fmla="*/ 1056096 w 1078369"/>
                <a:gd name="connsiteY6" fmla="*/ 1189779 h 1235176"/>
                <a:gd name="connsiteX7" fmla="*/ 1075146 w 1078369"/>
                <a:gd name="connsiteY7" fmla="*/ 1234229 h 1235176"/>
                <a:gd name="connsiteX8" fmla="*/ 1075146 w 1078369"/>
                <a:gd name="connsiteY8" fmla="*/ 1215179 h 1235176"/>
                <a:gd name="connsiteX9" fmla="*/ 1043396 w 1078369"/>
                <a:gd name="connsiteY9" fmla="*/ 1158029 h 1235176"/>
                <a:gd name="connsiteX10" fmla="*/ 681446 w 1078369"/>
                <a:gd name="connsiteY10" fmla="*/ 497629 h 1235176"/>
                <a:gd name="connsiteX11" fmla="*/ 427446 w 1078369"/>
                <a:gd name="connsiteY11" fmla="*/ 167429 h 1235176"/>
                <a:gd name="connsiteX12" fmla="*/ 211546 w 1078369"/>
                <a:gd name="connsiteY12" fmla="*/ 2329 h 1235176"/>
                <a:gd name="connsiteX13" fmla="*/ 1996 w 1078369"/>
                <a:gd name="connsiteY13" fmla="*/ 307129 h 123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8369" h="1235176">
                  <a:moveTo>
                    <a:pt x="1996" y="307129"/>
                  </a:moveTo>
                  <a:cubicBezTo>
                    <a:pt x="-13879" y="360046"/>
                    <a:pt x="68671" y="309246"/>
                    <a:pt x="116296" y="319829"/>
                  </a:cubicBezTo>
                  <a:cubicBezTo>
                    <a:pt x="163921" y="330412"/>
                    <a:pt x="223188" y="343112"/>
                    <a:pt x="287746" y="370629"/>
                  </a:cubicBezTo>
                  <a:cubicBezTo>
                    <a:pt x="352304" y="398146"/>
                    <a:pt x="423213" y="419312"/>
                    <a:pt x="503646" y="484929"/>
                  </a:cubicBezTo>
                  <a:cubicBezTo>
                    <a:pt x="584079" y="550546"/>
                    <a:pt x="683563" y="655321"/>
                    <a:pt x="770346" y="764329"/>
                  </a:cubicBezTo>
                  <a:cubicBezTo>
                    <a:pt x="857129" y="873337"/>
                    <a:pt x="976721" y="1068071"/>
                    <a:pt x="1024346" y="1138979"/>
                  </a:cubicBezTo>
                  <a:cubicBezTo>
                    <a:pt x="1071971" y="1209887"/>
                    <a:pt x="1047629" y="1173904"/>
                    <a:pt x="1056096" y="1189779"/>
                  </a:cubicBezTo>
                  <a:cubicBezTo>
                    <a:pt x="1064563" y="1205654"/>
                    <a:pt x="1075146" y="1234229"/>
                    <a:pt x="1075146" y="1234229"/>
                  </a:cubicBezTo>
                  <a:cubicBezTo>
                    <a:pt x="1078321" y="1238462"/>
                    <a:pt x="1080438" y="1227879"/>
                    <a:pt x="1075146" y="1215179"/>
                  </a:cubicBezTo>
                  <a:cubicBezTo>
                    <a:pt x="1069854" y="1202479"/>
                    <a:pt x="1043396" y="1158029"/>
                    <a:pt x="1043396" y="1158029"/>
                  </a:cubicBezTo>
                  <a:cubicBezTo>
                    <a:pt x="977779" y="1038437"/>
                    <a:pt x="784104" y="662729"/>
                    <a:pt x="681446" y="497629"/>
                  </a:cubicBezTo>
                  <a:cubicBezTo>
                    <a:pt x="578788" y="332529"/>
                    <a:pt x="505763" y="249979"/>
                    <a:pt x="427446" y="167429"/>
                  </a:cubicBezTo>
                  <a:cubicBezTo>
                    <a:pt x="349129" y="84879"/>
                    <a:pt x="280338" y="-16721"/>
                    <a:pt x="211546" y="2329"/>
                  </a:cubicBezTo>
                  <a:cubicBezTo>
                    <a:pt x="142754" y="21379"/>
                    <a:pt x="17871" y="254212"/>
                    <a:pt x="1996" y="307129"/>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Freihandform 30"/>
            <p:cNvSpPr/>
            <p:nvPr/>
          </p:nvSpPr>
          <p:spPr>
            <a:xfrm>
              <a:off x="8177643" y="5372370"/>
              <a:ext cx="1820625" cy="649351"/>
            </a:xfrm>
            <a:custGeom>
              <a:avLst/>
              <a:gdLst>
                <a:gd name="connsiteX0" fmla="*/ 2032 w 3886206"/>
                <a:gd name="connsiteY0" fmla="*/ 257291 h 1386070"/>
                <a:gd name="connsiteX1" fmla="*/ 82994 w 3886206"/>
                <a:gd name="connsiteY1" fmla="*/ 566854 h 1386070"/>
                <a:gd name="connsiteX2" fmla="*/ 140144 w 3886206"/>
                <a:gd name="connsiteY2" fmla="*/ 733541 h 1386070"/>
                <a:gd name="connsiteX3" fmla="*/ 230632 w 3886206"/>
                <a:gd name="connsiteY3" fmla="*/ 928804 h 1386070"/>
                <a:gd name="connsiteX4" fmla="*/ 373507 w 3886206"/>
                <a:gd name="connsiteY4" fmla="*/ 1071679 h 1386070"/>
                <a:gd name="connsiteX5" fmla="*/ 568769 w 3886206"/>
                <a:gd name="connsiteY5" fmla="*/ 1224079 h 1386070"/>
                <a:gd name="connsiteX6" fmla="*/ 840232 w 3886206"/>
                <a:gd name="connsiteY6" fmla="*/ 1333616 h 1386070"/>
                <a:gd name="connsiteX7" fmla="*/ 1287907 w 3886206"/>
                <a:gd name="connsiteY7" fmla="*/ 1386004 h 1386070"/>
                <a:gd name="connsiteX8" fmla="*/ 1930844 w 3886206"/>
                <a:gd name="connsiteY8" fmla="*/ 1324091 h 1386070"/>
                <a:gd name="connsiteX9" fmla="*/ 2559494 w 3886206"/>
                <a:gd name="connsiteY9" fmla="*/ 1095491 h 1386070"/>
                <a:gd name="connsiteX10" fmla="*/ 2969069 w 3886206"/>
                <a:gd name="connsiteY10" fmla="*/ 795454 h 1386070"/>
                <a:gd name="connsiteX11" fmla="*/ 3654869 w 3886206"/>
                <a:gd name="connsiteY11" fmla="*/ 219191 h 1386070"/>
                <a:gd name="connsiteX12" fmla="*/ 3759644 w 3886206"/>
                <a:gd name="connsiteY12" fmla="*/ 133466 h 1386070"/>
                <a:gd name="connsiteX13" fmla="*/ 3864419 w 3886206"/>
                <a:gd name="connsiteY13" fmla="*/ 33454 h 1386070"/>
                <a:gd name="connsiteX14" fmla="*/ 3878707 w 3886206"/>
                <a:gd name="connsiteY14" fmla="*/ 19166 h 1386070"/>
                <a:gd name="connsiteX15" fmla="*/ 3883469 w 3886206"/>
                <a:gd name="connsiteY15" fmla="*/ 116 h 1386070"/>
                <a:gd name="connsiteX16" fmla="*/ 3835844 w 3886206"/>
                <a:gd name="connsiteY16" fmla="*/ 28691 h 1386070"/>
                <a:gd name="connsiteX17" fmla="*/ 3764407 w 3886206"/>
                <a:gd name="connsiteY17" fmla="*/ 85841 h 1386070"/>
                <a:gd name="connsiteX18" fmla="*/ 3521519 w 3886206"/>
                <a:gd name="connsiteY18" fmla="*/ 252529 h 1386070"/>
                <a:gd name="connsiteX19" fmla="*/ 3016694 w 3886206"/>
                <a:gd name="connsiteY19" fmla="*/ 543041 h 1386070"/>
                <a:gd name="connsiteX20" fmla="*/ 2535682 w 3886206"/>
                <a:gd name="connsiteY20" fmla="*/ 800216 h 1386070"/>
                <a:gd name="connsiteX21" fmla="*/ 1911794 w 3886206"/>
                <a:gd name="connsiteY21" fmla="*/ 1014529 h 1386070"/>
                <a:gd name="connsiteX22" fmla="*/ 1502219 w 3886206"/>
                <a:gd name="connsiteY22" fmla="*/ 1062154 h 1386070"/>
                <a:gd name="connsiteX23" fmla="*/ 1035494 w 3886206"/>
                <a:gd name="connsiteY23" fmla="*/ 1043104 h 1386070"/>
                <a:gd name="connsiteX24" fmla="*/ 630682 w 3886206"/>
                <a:gd name="connsiteY24" fmla="*/ 866891 h 1386070"/>
                <a:gd name="connsiteX25" fmla="*/ 325882 w 3886206"/>
                <a:gd name="connsiteY25" fmla="*/ 604954 h 1386070"/>
                <a:gd name="connsiteX26" fmla="*/ 173482 w 3886206"/>
                <a:gd name="connsiteY26" fmla="*/ 443029 h 1386070"/>
                <a:gd name="connsiteX27" fmla="*/ 2032 w 3886206"/>
                <a:gd name="connsiteY27" fmla="*/ 257291 h 138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86206" h="1386070">
                  <a:moveTo>
                    <a:pt x="2032" y="257291"/>
                  </a:moveTo>
                  <a:cubicBezTo>
                    <a:pt x="-13049" y="277928"/>
                    <a:pt x="59975" y="487479"/>
                    <a:pt x="82994" y="566854"/>
                  </a:cubicBezTo>
                  <a:cubicBezTo>
                    <a:pt x="106013" y="646229"/>
                    <a:pt x="115538" y="673216"/>
                    <a:pt x="140144" y="733541"/>
                  </a:cubicBezTo>
                  <a:cubicBezTo>
                    <a:pt x="164750" y="793866"/>
                    <a:pt x="191738" y="872448"/>
                    <a:pt x="230632" y="928804"/>
                  </a:cubicBezTo>
                  <a:cubicBezTo>
                    <a:pt x="269526" y="985160"/>
                    <a:pt x="317151" y="1022467"/>
                    <a:pt x="373507" y="1071679"/>
                  </a:cubicBezTo>
                  <a:cubicBezTo>
                    <a:pt x="429863" y="1120891"/>
                    <a:pt x="490982" y="1180423"/>
                    <a:pt x="568769" y="1224079"/>
                  </a:cubicBezTo>
                  <a:cubicBezTo>
                    <a:pt x="646557" y="1267735"/>
                    <a:pt x="720376" y="1306629"/>
                    <a:pt x="840232" y="1333616"/>
                  </a:cubicBezTo>
                  <a:cubicBezTo>
                    <a:pt x="960088" y="1360604"/>
                    <a:pt x="1106138" y="1387591"/>
                    <a:pt x="1287907" y="1386004"/>
                  </a:cubicBezTo>
                  <a:cubicBezTo>
                    <a:pt x="1469676" y="1384417"/>
                    <a:pt x="1718913" y="1372510"/>
                    <a:pt x="1930844" y="1324091"/>
                  </a:cubicBezTo>
                  <a:cubicBezTo>
                    <a:pt x="2142775" y="1275672"/>
                    <a:pt x="2386457" y="1183597"/>
                    <a:pt x="2559494" y="1095491"/>
                  </a:cubicBezTo>
                  <a:cubicBezTo>
                    <a:pt x="2732532" y="1007385"/>
                    <a:pt x="2786507" y="941504"/>
                    <a:pt x="2969069" y="795454"/>
                  </a:cubicBezTo>
                  <a:cubicBezTo>
                    <a:pt x="3151631" y="649404"/>
                    <a:pt x="3523107" y="329522"/>
                    <a:pt x="3654869" y="219191"/>
                  </a:cubicBezTo>
                  <a:cubicBezTo>
                    <a:pt x="3786631" y="108860"/>
                    <a:pt x="3724719" y="164422"/>
                    <a:pt x="3759644" y="133466"/>
                  </a:cubicBezTo>
                  <a:cubicBezTo>
                    <a:pt x="3794569" y="102510"/>
                    <a:pt x="3864419" y="33454"/>
                    <a:pt x="3864419" y="33454"/>
                  </a:cubicBezTo>
                  <a:cubicBezTo>
                    <a:pt x="3884263" y="14404"/>
                    <a:pt x="3878707" y="19166"/>
                    <a:pt x="3878707" y="19166"/>
                  </a:cubicBezTo>
                  <a:cubicBezTo>
                    <a:pt x="3881882" y="13610"/>
                    <a:pt x="3890613" y="-1472"/>
                    <a:pt x="3883469" y="116"/>
                  </a:cubicBezTo>
                  <a:cubicBezTo>
                    <a:pt x="3876325" y="1703"/>
                    <a:pt x="3855688" y="14404"/>
                    <a:pt x="3835844" y="28691"/>
                  </a:cubicBezTo>
                  <a:cubicBezTo>
                    <a:pt x="3816000" y="42978"/>
                    <a:pt x="3816794" y="48535"/>
                    <a:pt x="3764407" y="85841"/>
                  </a:cubicBezTo>
                  <a:cubicBezTo>
                    <a:pt x="3712020" y="123147"/>
                    <a:pt x="3646138" y="176329"/>
                    <a:pt x="3521519" y="252529"/>
                  </a:cubicBezTo>
                  <a:cubicBezTo>
                    <a:pt x="3396900" y="328729"/>
                    <a:pt x="3181000" y="451760"/>
                    <a:pt x="3016694" y="543041"/>
                  </a:cubicBezTo>
                  <a:cubicBezTo>
                    <a:pt x="2852388" y="634322"/>
                    <a:pt x="2719832" y="721635"/>
                    <a:pt x="2535682" y="800216"/>
                  </a:cubicBezTo>
                  <a:cubicBezTo>
                    <a:pt x="2351532" y="878797"/>
                    <a:pt x="2084038" y="970873"/>
                    <a:pt x="1911794" y="1014529"/>
                  </a:cubicBezTo>
                  <a:cubicBezTo>
                    <a:pt x="1739550" y="1058185"/>
                    <a:pt x="1648269" y="1057392"/>
                    <a:pt x="1502219" y="1062154"/>
                  </a:cubicBezTo>
                  <a:lnTo>
                    <a:pt x="1035494" y="1043104"/>
                  </a:lnTo>
                  <a:cubicBezTo>
                    <a:pt x="890238" y="1010560"/>
                    <a:pt x="748951" y="939916"/>
                    <a:pt x="630682" y="866891"/>
                  </a:cubicBezTo>
                  <a:cubicBezTo>
                    <a:pt x="512413" y="793866"/>
                    <a:pt x="402082" y="675598"/>
                    <a:pt x="325882" y="604954"/>
                  </a:cubicBezTo>
                  <a:cubicBezTo>
                    <a:pt x="249682" y="534310"/>
                    <a:pt x="223488" y="497004"/>
                    <a:pt x="173482" y="443029"/>
                  </a:cubicBezTo>
                  <a:cubicBezTo>
                    <a:pt x="123476" y="389054"/>
                    <a:pt x="17113" y="236654"/>
                    <a:pt x="2032" y="257291"/>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Freihandform 31"/>
            <p:cNvSpPr/>
            <p:nvPr/>
          </p:nvSpPr>
          <p:spPr>
            <a:xfrm>
              <a:off x="7843133" y="3812848"/>
              <a:ext cx="1018195" cy="1676594"/>
            </a:xfrm>
            <a:custGeom>
              <a:avLst/>
              <a:gdLst>
                <a:gd name="connsiteX0" fmla="*/ 2173384 w 2173384"/>
                <a:gd name="connsiteY0" fmla="*/ 0 h 3578765"/>
                <a:gd name="connsiteX1" fmla="*/ 1797146 w 2173384"/>
                <a:gd name="connsiteY1" fmla="*/ 314325 h 3578765"/>
                <a:gd name="connsiteX2" fmla="*/ 1211359 w 2173384"/>
                <a:gd name="connsiteY2" fmla="*/ 776287 h 3578765"/>
                <a:gd name="connsiteX3" fmla="*/ 687484 w 2173384"/>
                <a:gd name="connsiteY3" fmla="*/ 1233487 h 3578765"/>
                <a:gd name="connsiteX4" fmla="*/ 287434 w 2173384"/>
                <a:gd name="connsiteY4" fmla="*/ 1676400 h 3578765"/>
                <a:gd name="connsiteX5" fmla="*/ 44546 w 2173384"/>
                <a:gd name="connsiteY5" fmla="*/ 2176462 h 3578765"/>
                <a:gd name="connsiteX6" fmla="*/ 1684 w 2173384"/>
                <a:gd name="connsiteY6" fmla="*/ 2543175 h 3578765"/>
                <a:gd name="connsiteX7" fmla="*/ 68359 w 2173384"/>
                <a:gd name="connsiteY7" fmla="*/ 2890837 h 3578765"/>
                <a:gd name="connsiteX8" fmla="*/ 301721 w 2173384"/>
                <a:gd name="connsiteY8" fmla="*/ 3205162 h 3578765"/>
                <a:gd name="connsiteX9" fmla="*/ 611284 w 2173384"/>
                <a:gd name="connsiteY9" fmla="*/ 3495675 h 3578765"/>
                <a:gd name="connsiteX10" fmla="*/ 630334 w 2173384"/>
                <a:gd name="connsiteY10" fmla="*/ 3514725 h 3578765"/>
                <a:gd name="connsiteX11" fmla="*/ 658909 w 2173384"/>
                <a:gd name="connsiteY11" fmla="*/ 3543300 h 3578765"/>
                <a:gd name="connsiteX12" fmla="*/ 677959 w 2173384"/>
                <a:gd name="connsiteY12" fmla="*/ 3567112 h 3578765"/>
                <a:gd name="connsiteX13" fmla="*/ 701771 w 2173384"/>
                <a:gd name="connsiteY13" fmla="*/ 3571875 h 3578765"/>
                <a:gd name="connsiteX14" fmla="*/ 668434 w 2173384"/>
                <a:gd name="connsiteY14" fmla="*/ 3471862 h 3578765"/>
                <a:gd name="connsiteX15" fmla="*/ 544609 w 2173384"/>
                <a:gd name="connsiteY15" fmla="*/ 3176587 h 3578765"/>
                <a:gd name="connsiteX16" fmla="*/ 406496 w 2173384"/>
                <a:gd name="connsiteY16" fmla="*/ 2895600 h 3578765"/>
                <a:gd name="connsiteX17" fmla="*/ 349346 w 2173384"/>
                <a:gd name="connsiteY17" fmla="*/ 2686050 h 3578765"/>
                <a:gd name="connsiteX18" fmla="*/ 344584 w 2173384"/>
                <a:gd name="connsiteY18" fmla="*/ 2562225 h 3578765"/>
                <a:gd name="connsiteX19" fmla="*/ 439834 w 2173384"/>
                <a:gd name="connsiteY19" fmla="*/ 2190750 h 3578765"/>
                <a:gd name="connsiteX20" fmla="*/ 582709 w 2173384"/>
                <a:gd name="connsiteY20" fmla="*/ 1881187 h 3578765"/>
                <a:gd name="connsiteX21" fmla="*/ 725584 w 2173384"/>
                <a:gd name="connsiteY21" fmla="*/ 1624012 h 3578765"/>
                <a:gd name="connsiteX22" fmla="*/ 997046 w 2173384"/>
                <a:gd name="connsiteY22" fmla="*/ 1257300 h 3578765"/>
                <a:gd name="connsiteX23" fmla="*/ 1258984 w 2173384"/>
                <a:gd name="connsiteY23" fmla="*/ 971550 h 3578765"/>
                <a:gd name="connsiteX24" fmla="*/ 1587596 w 2173384"/>
                <a:gd name="connsiteY24" fmla="*/ 623887 h 3578765"/>
                <a:gd name="connsiteX25" fmla="*/ 2173384 w 2173384"/>
                <a:gd name="connsiteY25" fmla="*/ 0 h 357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73384" h="3578765">
                  <a:moveTo>
                    <a:pt x="2173384" y="0"/>
                  </a:moveTo>
                  <a:cubicBezTo>
                    <a:pt x="2065434" y="92472"/>
                    <a:pt x="1957484" y="184944"/>
                    <a:pt x="1797146" y="314325"/>
                  </a:cubicBezTo>
                  <a:cubicBezTo>
                    <a:pt x="1636808" y="443706"/>
                    <a:pt x="1396303" y="623093"/>
                    <a:pt x="1211359" y="776287"/>
                  </a:cubicBezTo>
                  <a:cubicBezTo>
                    <a:pt x="1026415" y="929481"/>
                    <a:pt x="841471" y="1083468"/>
                    <a:pt x="687484" y="1233487"/>
                  </a:cubicBezTo>
                  <a:cubicBezTo>
                    <a:pt x="533497" y="1383506"/>
                    <a:pt x="394590" y="1519238"/>
                    <a:pt x="287434" y="1676400"/>
                  </a:cubicBezTo>
                  <a:cubicBezTo>
                    <a:pt x="180278" y="1833562"/>
                    <a:pt x="92171" y="2032000"/>
                    <a:pt x="44546" y="2176462"/>
                  </a:cubicBezTo>
                  <a:cubicBezTo>
                    <a:pt x="-3079" y="2320924"/>
                    <a:pt x="-2285" y="2424113"/>
                    <a:pt x="1684" y="2543175"/>
                  </a:cubicBezTo>
                  <a:cubicBezTo>
                    <a:pt x="5653" y="2662237"/>
                    <a:pt x="18353" y="2780506"/>
                    <a:pt x="68359" y="2890837"/>
                  </a:cubicBezTo>
                  <a:cubicBezTo>
                    <a:pt x="118365" y="3001168"/>
                    <a:pt x="211234" y="3104356"/>
                    <a:pt x="301721" y="3205162"/>
                  </a:cubicBezTo>
                  <a:cubicBezTo>
                    <a:pt x="392208" y="3305968"/>
                    <a:pt x="611284" y="3495675"/>
                    <a:pt x="611284" y="3495675"/>
                  </a:cubicBezTo>
                  <a:cubicBezTo>
                    <a:pt x="666053" y="3547269"/>
                    <a:pt x="630334" y="3514725"/>
                    <a:pt x="630334" y="3514725"/>
                  </a:cubicBezTo>
                  <a:cubicBezTo>
                    <a:pt x="638271" y="3522662"/>
                    <a:pt x="650972" y="3534569"/>
                    <a:pt x="658909" y="3543300"/>
                  </a:cubicBezTo>
                  <a:cubicBezTo>
                    <a:pt x="666846" y="3552031"/>
                    <a:pt x="670815" y="3562350"/>
                    <a:pt x="677959" y="3567112"/>
                  </a:cubicBezTo>
                  <a:cubicBezTo>
                    <a:pt x="685103" y="3571874"/>
                    <a:pt x="703358" y="3587750"/>
                    <a:pt x="701771" y="3571875"/>
                  </a:cubicBezTo>
                  <a:cubicBezTo>
                    <a:pt x="700183" y="3556000"/>
                    <a:pt x="694628" y="3537743"/>
                    <a:pt x="668434" y="3471862"/>
                  </a:cubicBezTo>
                  <a:cubicBezTo>
                    <a:pt x="642240" y="3405981"/>
                    <a:pt x="588265" y="3272631"/>
                    <a:pt x="544609" y="3176587"/>
                  </a:cubicBezTo>
                  <a:cubicBezTo>
                    <a:pt x="500953" y="3080543"/>
                    <a:pt x="439040" y="2977356"/>
                    <a:pt x="406496" y="2895600"/>
                  </a:cubicBezTo>
                  <a:cubicBezTo>
                    <a:pt x="373952" y="2813844"/>
                    <a:pt x="359665" y="2741612"/>
                    <a:pt x="349346" y="2686050"/>
                  </a:cubicBezTo>
                  <a:cubicBezTo>
                    <a:pt x="339027" y="2630488"/>
                    <a:pt x="329503" y="2644775"/>
                    <a:pt x="344584" y="2562225"/>
                  </a:cubicBezTo>
                  <a:cubicBezTo>
                    <a:pt x="359665" y="2479675"/>
                    <a:pt x="400146" y="2304256"/>
                    <a:pt x="439834" y="2190750"/>
                  </a:cubicBezTo>
                  <a:cubicBezTo>
                    <a:pt x="479521" y="2077244"/>
                    <a:pt x="535084" y="1975643"/>
                    <a:pt x="582709" y="1881187"/>
                  </a:cubicBezTo>
                  <a:cubicBezTo>
                    <a:pt x="630334" y="1786731"/>
                    <a:pt x="656528" y="1727993"/>
                    <a:pt x="725584" y="1624012"/>
                  </a:cubicBezTo>
                  <a:cubicBezTo>
                    <a:pt x="794640" y="1520031"/>
                    <a:pt x="908146" y="1366044"/>
                    <a:pt x="997046" y="1257300"/>
                  </a:cubicBezTo>
                  <a:cubicBezTo>
                    <a:pt x="1085946" y="1148556"/>
                    <a:pt x="1160559" y="1077119"/>
                    <a:pt x="1258984" y="971550"/>
                  </a:cubicBezTo>
                  <a:cubicBezTo>
                    <a:pt x="1357409" y="865981"/>
                    <a:pt x="1587596" y="623887"/>
                    <a:pt x="1587596" y="623887"/>
                  </a:cubicBezTo>
                  <a:lnTo>
                    <a:pt x="2173384" y="0"/>
                  </a:ln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Freihandform 32"/>
            <p:cNvSpPr/>
            <p:nvPr/>
          </p:nvSpPr>
          <p:spPr>
            <a:xfrm>
              <a:off x="10185120" y="547949"/>
              <a:ext cx="997186" cy="1350164"/>
            </a:xfrm>
            <a:custGeom>
              <a:avLst/>
              <a:gdLst>
                <a:gd name="connsiteX0" fmla="*/ 9898 w 2128539"/>
                <a:gd name="connsiteY0" fmla="*/ 1087387 h 2881986"/>
                <a:gd name="connsiteX1" fmla="*/ 2278 w 2128539"/>
                <a:gd name="connsiteY1" fmla="*/ 790207 h 2881986"/>
                <a:gd name="connsiteX2" fmla="*/ 32758 w 2128539"/>
                <a:gd name="connsiteY2" fmla="*/ 447307 h 2881986"/>
                <a:gd name="connsiteX3" fmla="*/ 139438 w 2128539"/>
                <a:gd name="connsiteY3" fmla="*/ 134887 h 2881986"/>
                <a:gd name="connsiteX4" fmla="*/ 284218 w 2128539"/>
                <a:gd name="connsiteY4" fmla="*/ 12967 h 2881986"/>
                <a:gd name="connsiteX5" fmla="*/ 390898 w 2128539"/>
                <a:gd name="connsiteY5" fmla="*/ 12967 h 2881986"/>
                <a:gd name="connsiteX6" fmla="*/ 520438 w 2128539"/>
                <a:gd name="connsiteY6" fmla="*/ 96787 h 2881986"/>
                <a:gd name="connsiteX7" fmla="*/ 665218 w 2128539"/>
                <a:gd name="connsiteY7" fmla="*/ 211087 h 2881986"/>
                <a:gd name="connsiteX8" fmla="*/ 779518 w 2128539"/>
                <a:gd name="connsiteY8" fmla="*/ 294907 h 2881986"/>
                <a:gd name="connsiteX9" fmla="*/ 1053838 w 2128539"/>
                <a:gd name="connsiteY9" fmla="*/ 599707 h 2881986"/>
                <a:gd name="connsiteX10" fmla="*/ 1236718 w 2128539"/>
                <a:gd name="connsiteY10" fmla="*/ 813067 h 2881986"/>
                <a:gd name="connsiteX11" fmla="*/ 1427218 w 2128539"/>
                <a:gd name="connsiteY11" fmla="*/ 1163587 h 2881986"/>
                <a:gd name="connsiteX12" fmla="*/ 1632958 w 2128539"/>
                <a:gd name="connsiteY12" fmla="*/ 1521727 h 2881986"/>
                <a:gd name="connsiteX13" fmla="*/ 1869178 w 2128539"/>
                <a:gd name="connsiteY13" fmla="*/ 2131327 h 2881986"/>
                <a:gd name="connsiteX14" fmla="*/ 1952998 w 2128539"/>
                <a:gd name="connsiteY14" fmla="*/ 2337067 h 2881986"/>
                <a:gd name="connsiteX15" fmla="*/ 2090158 w 2128539"/>
                <a:gd name="connsiteY15" fmla="*/ 2725687 h 2881986"/>
                <a:gd name="connsiteX16" fmla="*/ 2128258 w 2128539"/>
                <a:gd name="connsiteY16" fmla="*/ 2878087 h 2881986"/>
                <a:gd name="connsiteX17" fmla="*/ 2105398 w 2128539"/>
                <a:gd name="connsiteY17" fmla="*/ 2824747 h 2881986"/>
                <a:gd name="connsiteX18" fmla="*/ 2067298 w 2128539"/>
                <a:gd name="connsiteY18" fmla="*/ 2695207 h 2881986"/>
                <a:gd name="connsiteX19" fmla="*/ 1762498 w 2128539"/>
                <a:gd name="connsiteY19" fmla="*/ 2177047 h 2881986"/>
                <a:gd name="connsiteX20" fmla="*/ 1450078 w 2128539"/>
                <a:gd name="connsiteY20" fmla="*/ 1590307 h 2881986"/>
                <a:gd name="connsiteX21" fmla="*/ 1190998 w 2128539"/>
                <a:gd name="connsiteY21" fmla="*/ 1186447 h 2881986"/>
                <a:gd name="connsiteX22" fmla="*/ 878578 w 2128539"/>
                <a:gd name="connsiteY22" fmla="*/ 805447 h 2881986"/>
                <a:gd name="connsiteX23" fmla="*/ 695698 w 2128539"/>
                <a:gd name="connsiteY23" fmla="*/ 614947 h 2881986"/>
                <a:gd name="connsiteX24" fmla="*/ 611878 w 2128539"/>
                <a:gd name="connsiteY24" fmla="*/ 515887 h 2881986"/>
                <a:gd name="connsiteX25" fmla="*/ 482338 w 2128539"/>
                <a:gd name="connsiteY25" fmla="*/ 477787 h 2881986"/>
                <a:gd name="connsiteX26" fmla="*/ 390898 w 2128539"/>
                <a:gd name="connsiteY26" fmla="*/ 493027 h 2881986"/>
                <a:gd name="connsiteX27" fmla="*/ 345178 w 2128539"/>
                <a:gd name="connsiteY27" fmla="*/ 546367 h 2881986"/>
                <a:gd name="connsiteX28" fmla="*/ 261358 w 2128539"/>
                <a:gd name="connsiteY28" fmla="*/ 630187 h 2881986"/>
                <a:gd name="connsiteX29" fmla="*/ 185158 w 2128539"/>
                <a:gd name="connsiteY29" fmla="*/ 782587 h 2881986"/>
                <a:gd name="connsiteX30" fmla="*/ 70858 w 2128539"/>
                <a:gd name="connsiteY30" fmla="*/ 965467 h 2881986"/>
                <a:gd name="connsiteX31" fmla="*/ 9898 w 2128539"/>
                <a:gd name="connsiteY31" fmla="*/ 1087387 h 288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28539" h="2881986">
                  <a:moveTo>
                    <a:pt x="9898" y="1087387"/>
                  </a:moveTo>
                  <a:cubicBezTo>
                    <a:pt x="-1532" y="1058177"/>
                    <a:pt x="-1532" y="896887"/>
                    <a:pt x="2278" y="790207"/>
                  </a:cubicBezTo>
                  <a:cubicBezTo>
                    <a:pt x="6088" y="683527"/>
                    <a:pt x="9898" y="556527"/>
                    <a:pt x="32758" y="447307"/>
                  </a:cubicBezTo>
                  <a:cubicBezTo>
                    <a:pt x="55618" y="338087"/>
                    <a:pt x="97528" y="207277"/>
                    <a:pt x="139438" y="134887"/>
                  </a:cubicBezTo>
                  <a:cubicBezTo>
                    <a:pt x="181348" y="62497"/>
                    <a:pt x="242308" y="33287"/>
                    <a:pt x="284218" y="12967"/>
                  </a:cubicBezTo>
                  <a:cubicBezTo>
                    <a:pt x="326128" y="-7353"/>
                    <a:pt x="351528" y="-1003"/>
                    <a:pt x="390898" y="12967"/>
                  </a:cubicBezTo>
                  <a:cubicBezTo>
                    <a:pt x="430268" y="26937"/>
                    <a:pt x="474718" y="63767"/>
                    <a:pt x="520438" y="96787"/>
                  </a:cubicBezTo>
                  <a:cubicBezTo>
                    <a:pt x="566158" y="129807"/>
                    <a:pt x="622038" y="178067"/>
                    <a:pt x="665218" y="211087"/>
                  </a:cubicBezTo>
                  <a:cubicBezTo>
                    <a:pt x="708398" y="244107"/>
                    <a:pt x="714748" y="230137"/>
                    <a:pt x="779518" y="294907"/>
                  </a:cubicBezTo>
                  <a:cubicBezTo>
                    <a:pt x="844288" y="359677"/>
                    <a:pt x="977638" y="513347"/>
                    <a:pt x="1053838" y="599707"/>
                  </a:cubicBezTo>
                  <a:cubicBezTo>
                    <a:pt x="1130038" y="686067"/>
                    <a:pt x="1174488" y="719087"/>
                    <a:pt x="1236718" y="813067"/>
                  </a:cubicBezTo>
                  <a:cubicBezTo>
                    <a:pt x="1298948" y="907047"/>
                    <a:pt x="1361178" y="1045477"/>
                    <a:pt x="1427218" y="1163587"/>
                  </a:cubicBezTo>
                  <a:cubicBezTo>
                    <a:pt x="1493258" y="1281697"/>
                    <a:pt x="1559298" y="1360437"/>
                    <a:pt x="1632958" y="1521727"/>
                  </a:cubicBezTo>
                  <a:cubicBezTo>
                    <a:pt x="1706618" y="1683017"/>
                    <a:pt x="1815838" y="1995437"/>
                    <a:pt x="1869178" y="2131327"/>
                  </a:cubicBezTo>
                  <a:cubicBezTo>
                    <a:pt x="1922518" y="2267217"/>
                    <a:pt x="1916168" y="2238007"/>
                    <a:pt x="1952998" y="2337067"/>
                  </a:cubicBezTo>
                  <a:cubicBezTo>
                    <a:pt x="1989828" y="2436127"/>
                    <a:pt x="2060948" y="2635517"/>
                    <a:pt x="2090158" y="2725687"/>
                  </a:cubicBezTo>
                  <a:cubicBezTo>
                    <a:pt x="2119368" y="2815857"/>
                    <a:pt x="2125718" y="2861577"/>
                    <a:pt x="2128258" y="2878087"/>
                  </a:cubicBezTo>
                  <a:cubicBezTo>
                    <a:pt x="2130798" y="2894597"/>
                    <a:pt x="2115558" y="2855227"/>
                    <a:pt x="2105398" y="2824747"/>
                  </a:cubicBezTo>
                  <a:cubicBezTo>
                    <a:pt x="2095238" y="2794267"/>
                    <a:pt x="2124448" y="2803157"/>
                    <a:pt x="2067298" y="2695207"/>
                  </a:cubicBezTo>
                  <a:cubicBezTo>
                    <a:pt x="2010148" y="2587257"/>
                    <a:pt x="1865368" y="2361197"/>
                    <a:pt x="1762498" y="2177047"/>
                  </a:cubicBezTo>
                  <a:cubicBezTo>
                    <a:pt x="1659628" y="1992897"/>
                    <a:pt x="1545328" y="1755407"/>
                    <a:pt x="1450078" y="1590307"/>
                  </a:cubicBezTo>
                  <a:cubicBezTo>
                    <a:pt x="1354828" y="1425207"/>
                    <a:pt x="1286248" y="1317257"/>
                    <a:pt x="1190998" y="1186447"/>
                  </a:cubicBezTo>
                  <a:cubicBezTo>
                    <a:pt x="1095748" y="1055637"/>
                    <a:pt x="961128" y="900697"/>
                    <a:pt x="878578" y="805447"/>
                  </a:cubicBezTo>
                  <a:cubicBezTo>
                    <a:pt x="796028" y="710197"/>
                    <a:pt x="740148" y="663207"/>
                    <a:pt x="695698" y="614947"/>
                  </a:cubicBezTo>
                  <a:cubicBezTo>
                    <a:pt x="651248" y="566687"/>
                    <a:pt x="647438" y="538747"/>
                    <a:pt x="611878" y="515887"/>
                  </a:cubicBezTo>
                  <a:cubicBezTo>
                    <a:pt x="576318" y="493027"/>
                    <a:pt x="519168" y="481597"/>
                    <a:pt x="482338" y="477787"/>
                  </a:cubicBezTo>
                  <a:cubicBezTo>
                    <a:pt x="445508" y="473977"/>
                    <a:pt x="413758" y="481597"/>
                    <a:pt x="390898" y="493027"/>
                  </a:cubicBezTo>
                  <a:cubicBezTo>
                    <a:pt x="368038" y="504457"/>
                    <a:pt x="366768" y="523507"/>
                    <a:pt x="345178" y="546367"/>
                  </a:cubicBezTo>
                  <a:cubicBezTo>
                    <a:pt x="323588" y="569227"/>
                    <a:pt x="288028" y="590817"/>
                    <a:pt x="261358" y="630187"/>
                  </a:cubicBezTo>
                  <a:cubicBezTo>
                    <a:pt x="234688" y="669557"/>
                    <a:pt x="216908" y="726707"/>
                    <a:pt x="185158" y="782587"/>
                  </a:cubicBezTo>
                  <a:cubicBezTo>
                    <a:pt x="153408" y="838467"/>
                    <a:pt x="97528" y="919747"/>
                    <a:pt x="70858" y="965467"/>
                  </a:cubicBezTo>
                  <a:cubicBezTo>
                    <a:pt x="44188" y="1011187"/>
                    <a:pt x="21328" y="1116597"/>
                    <a:pt x="9898" y="1087387"/>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Freihandform 33"/>
            <p:cNvSpPr/>
            <p:nvPr/>
          </p:nvSpPr>
          <p:spPr>
            <a:xfrm>
              <a:off x="8925725" y="1055998"/>
              <a:ext cx="1258900" cy="2696612"/>
            </a:xfrm>
            <a:custGeom>
              <a:avLst/>
              <a:gdLst>
                <a:gd name="connsiteX0" fmla="*/ 653 w 2687179"/>
                <a:gd name="connsiteY0" fmla="*/ 5756032 h 5756040"/>
                <a:gd name="connsiteX1" fmla="*/ 229253 w 2687179"/>
                <a:gd name="connsiteY1" fmla="*/ 5489332 h 5756040"/>
                <a:gd name="connsiteX2" fmla="*/ 595013 w 2687179"/>
                <a:gd name="connsiteY2" fmla="*/ 5016892 h 5756040"/>
                <a:gd name="connsiteX3" fmla="*/ 998873 w 2687179"/>
                <a:gd name="connsiteY3" fmla="*/ 4453012 h 5756040"/>
                <a:gd name="connsiteX4" fmla="*/ 1326533 w 2687179"/>
                <a:gd name="connsiteY4" fmla="*/ 3927232 h 5756040"/>
                <a:gd name="connsiteX5" fmla="*/ 1654193 w 2687179"/>
                <a:gd name="connsiteY5" fmla="*/ 3317632 h 5756040"/>
                <a:gd name="connsiteX6" fmla="*/ 1928513 w 2687179"/>
                <a:gd name="connsiteY6" fmla="*/ 2639452 h 5756040"/>
                <a:gd name="connsiteX7" fmla="*/ 2202833 w 2687179"/>
                <a:gd name="connsiteY7" fmla="*/ 1488832 h 5756040"/>
                <a:gd name="connsiteX8" fmla="*/ 2309513 w 2687179"/>
                <a:gd name="connsiteY8" fmla="*/ 909712 h 5756040"/>
                <a:gd name="connsiteX9" fmla="*/ 2400953 w 2687179"/>
                <a:gd name="connsiteY9" fmla="*/ 513472 h 5756040"/>
                <a:gd name="connsiteX10" fmla="*/ 2446673 w 2687179"/>
                <a:gd name="connsiteY10" fmla="*/ 269632 h 5756040"/>
                <a:gd name="connsiteX11" fmla="*/ 2507633 w 2687179"/>
                <a:gd name="connsiteY11" fmla="*/ 140092 h 5756040"/>
                <a:gd name="connsiteX12" fmla="*/ 2560973 w 2687179"/>
                <a:gd name="connsiteY12" fmla="*/ 63892 h 5756040"/>
                <a:gd name="connsiteX13" fmla="*/ 2591453 w 2687179"/>
                <a:gd name="connsiteY13" fmla="*/ 18172 h 5756040"/>
                <a:gd name="connsiteX14" fmla="*/ 2621933 w 2687179"/>
                <a:gd name="connsiteY14" fmla="*/ 2932 h 5756040"/>
                <a:gd name="connsiteX15" fmla="*/ 2629553 w 2687179"/>
                <a:gd name="connsiteY15" fmla="*/ 2932 h 5756040"/>
                <a:gd name="connsiteX16" fmla="*/ 2682893 w 2687179"/>
                <a:gd name="connsiteY16" fmla="*/ 33412 h 5756040"/>
                <a:gd name="connsiteX17" fmla="*/ 2675273 w 2687179"/>
                <a:gd name="connsiteY17" fmla="*/ 79132 h 5756040"/>
                <a:gd name="connsiteX18" fmla="*/ 2606693 w 2687179"/>
                <a:gd name="connsiteY18" fmla="*/ 383932 h 5756040"/>
                <a:gd name="connsiteX19" fmla="*/ 2522873 w 2687179"/>
                <a:gd name="connsiteY19" fmla="*/ 848752 h 5756040"/>
                <a:gd name="connsiteX20" fmla="*/ 2439053 w 2687179"/>
                <a:gd name="connsiteY20" fmla="*/ 1260232 h 5756040"/>
                <a:gd name="connsiteX21" fmla="*/ 2362853 w 2687179"/>
                <a:gd name="connsiteY21" fmla="*/ 1603132 h 5756040"/>
                <a:gd name="connsiteX22" fmla="*/ 2195213 w 2687179"/>
                <a:gd name="connsiteY22" fmla="*/ 2357512 h 5756040"/>
                <a:gd name="connsiteX23" fmla="*/ 1936133 w 2687179"/>
                <a:gd name="connsiteY23" fmla="*/ 3058552 h 5756040"/>
                <a:gd name="connsiteX24" fmla="*/ 1669433 w 2687179"/>
                <a:gd name="connsiteY24" fmla="*/ 3622432 h 5756040"/>
                <a:gd name="connsiteX25" fmla="*/ 1288433 w 2687179"/>
                <a:gd name="connsiteY25" fmla="*/ 4247272 h 5756040"/>
                <a:gd name="connsiteX26" fmla="*/ 983633 w 2687179"/>
                <a:gd name="connsiteY26" fmla="*/ 4635892 h 5756040"/>
                <a:gd name="connsiteX27" fmla="*/ 617873 w 2687179"/>
                <a:gd name="connsiteY27" fmla="*/ 5115952 h 5756040"/>
                <a:gd name="connsiteX28" fmla="*/ 297833 w 2687179"/>
                <a:gd name="connsiteY28" fmla="*/ 5496952 h 5756040"/>
                <a:gd name="connsiteX29" fmla="*/ 653 w 2687179"/>
                <a:gd name="connsiteY29" fmla="*/ 5756032 h 575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7179" h="5756040">
                  <a:moveTo>
                    <a:pt x="653" y="5756032"/>
                  </a:moveTo>
                  <a:cubicBezTo>
                    <a:pt x="-10777" y="5754762"/>
                    <a:pt x="130193" y="5612522"/>
                    <a:pt x="229253" y="5489332"/>
                  </a:cubicBezTo>
                  <a:cubicBezTo>
                    <a:pt x="328313" y="5366142"/>
                    <a:pt x="466743" y="5189612"/>
                    <a:pt x="595013" y="5016892"/>
                  </a:cubicBezTo>
                  <a:cubicBezTo>
                    <a:pt x="723283" y="4844172"/>
                    <a:pt x="876953" y="4634622"/>
                    <a:pt x="998873" y="4453012"/>
                  </a:cubicBezTo>
                  <a:cubicBezTo>
                    <a:pt x="1120793" y="4271402"/>
                    <a:pt x="1217313" y="4116462"/>
                    <a:pt x="1326533" y="3927232"/>
                  </a:cubicBezTo>
                  <a:cubicBezTo>
                    <a:pt x="1435753" y="3738002"/>
                    <a:pt x="1553863" y="3532262"/>
                    <a:pt x="1654193" y="3317632"/>
                  </a:cubicBezTo>
                  <a:cubicBezTo>
                    <a:pt x="1754523" y="3103002"/>
                    <a:pt x="1837073" y="2944252"/>
                    <a:pt x="1928513" y="2639452"/>
                  </a:cubicBezTo>
                  <a:cubicBezTo>
                    <a:pt x="2019953" y="2334652"/>
                    <a:pt x="2139333" y="1777122"/>
                    <a:pt x="2202833" y="1488832"/>
                  </a:cubicBezTo>
                  <a:cubicBezTo>
                    <a:pt x="2266333" y="1200542"/>
                    <a:pt x="2276493" y="1072272"/>
                    <a:pt x="2309513" y="909712"/>
                  </a:cubicBezTo>
                  <a:cubicBezTo>
                    <a:pt x="2342533" y="747152"/>
                    <a:pt x="2378093" y="620152"/>
                    <a:pt x="2400953" y="513472"/>
                  </a:cubicBezTo>
                  <a:cubicBezTo>
                    <a:pt x="2423813" y="406792"/>
                    <a:pt x="2428893" y="331862"/>
                    <a:pt x="2446673" y="269632"/>
                  </a:cubicBezTo>
                  <a:cubicBezTo>
                    <a:pt x="2464453" y="207402"/>
                    <a:pt x="2488583" y="174382"/>
                    <a:pt x="2507633" y="140092"/>
                  </a:cubicBezTo>
                  <a:cubicBezTo>
                    <a:pt x="2526683" y="105802"/>
                    <a:pt x="2547003" y="84212"/>
                    <a:pt x="2560973" y="63892"/>
                  </a:cubicBezTo>
                  <a:cubicBezTo>
                    <a:pt x="2574943" y="43572"/>
                    <a:pt x="2591453" y="18172"/>
                    <a:pt x="2591453" y="18172"/>
                  </a:cubicBezTo>
                  <a:cubicBezTo>
                    <a:pt x="2601613" y="8012"/>
                    <a:pt x="2621933" y="2932"/>
                    <a:pt x="2621933" y="2932"/>
                  </a:cubicBezTo>
                  <a:cubicBezTo>
                    <a:pt x="2628283" y="392"/>
                    <a:pt x="2619393" y="-2148"/>
                    <a:pt x="2629553" y="2932"/>
                  </a:cubicBezTo>
                  <a:cubicBezTo>
                    <a:pt x="2639713" y="8012"/>
                    <a:pt x="2675273" y="20712"/>
                    <a:pt x="2682893" y="33412"/>
                  </a:cubicBezTo>
                  <a:cubicBezTo>
                    <a:pt x="2690513" y="46112"/>
                    <a:pt x="2687973" y="20712"/>
                    <a:pt x="2675273" y="79132"/>
                  </a:cubicBezTo>
                  <a:cubicBezTo>
                    <a:pt x="2662573" y="137552"/>
                    <a:pt x="2632093" y="255662"/>
                    <a:pt x="2606693" y="383932"/>
                  </a:cubicBezTo>
                  <a:cubicBezTo>
                    <a:pt x="2581293" y="512202"/>
                    <a:pt x="2550813" y="702702"/>
                    <a:pt x="2522873" y="848752"/>
                  </a:cubicBezTo>
                  <a:cubicBezTo>
                    <a:pt x="2494933" y="994802"/>
                    <a:pt x="2465723" y="1134502"/>
                    <a:pt x="2439053" y="1260232"/>
                  </a:cubicBezTo>
                  <a:cubicBezTo>
                    <a:pt x="2412383" y="1385962"/>
                    <a:pt x="2362853" y="1603132"/>
                    <a:pt x="2362853" y="1603132"/>
                  </a:cubicBezTo>
                  <a:cubicBezTo>
                    <a:pt x="2322213" y="1786012"/>
                    <a:pt x="2266333" y="2114942"/>
                    <a:pt x="2195213" y="2357512"/>
                  </a:cubicBezTo>
                  <a:cubicBezTo>
                    <a:pt x="2124093" y="2600082"/>
                    <a:pt x="2023763" y="2847732"/>
                    <a:pt x="1936133" y="3058552"/>
                  </a:cubicBezTo>
                  <a:cubicBezTo>
                    <a:pt x="1848503" y="3269372"/>
                    <a:pt x="1777383" y="3424312"/>
                    <a:pt x="1669433" y="3622432"/>
                  </a:cubicBezTo>
                  <a:cubicBezTo>
                    <a:pt x="1561483" y="3820552"/>
                    <a:pt x="1402733" y="4078362"/>
                    <a:pt x="1288433" y="4247272"/>
                  </a:cubicBezTo>
                  <a:cubicBezTo>
                    <a:pt x="1174133" y="4416182"/>
                    <a:pt x="1095393" y="4491112"/>
                    <a:pt x="983633" y="4635892"/>
                  </a:cubicBezTo>
                  <a:cubicBezTo>
                    <a:pt x="871873" y="4780672"/>
                    <a:pt x="732173" y="4972442"/>
                    <a:pt x="617873" y="5115952"/>
                  </a:cubicBezTo>
                  <a:cubicBezTo>
                    <a:pt x="503573" y="5259462"/>
                    <a:pt x="399433" y="5383922"/>
                    <a:pt x="297833" y="5496952"/>
                  </a:cubicBezTo>
                  <a:cubicBezTo>
                    <a:pt x="196233" y="5609982"/>
                    <a:pt x="12083" y="5757302"/>
                    <a:pt x="653" y="5756032"/>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Freihandform 34"/>
            <p:cNvSpPr/>
            <p:nvPr/>
          </p:nvSpPr>
          <p:spPr>
            <a:xfrm>
              <a:off x="10090870" y="2003112"/>
              <a:ext cx="1314773" cy="3295408"/>
            </a:xfrm>
            <a:custGeom>
              <a:avLst/>
              <a:gdLst>
                <a:gd name="connsiteX0" fmla="*/ 2428498 w 2806443"/>
                <a:gd name="connsiteY0" fmla="*/ 575 h 7034198"/>
                <a:gd name="connsiteX1" fmla="*/ 2628523 w 2806443"/>
                <a:gd name="connsiteY1" fmla="*/ 734000 h 7034198"/>
                <a:gd name="connsiteX2" fmla="*/ 2790448 w 2806443"/>
                <a:gd name="connsiteY2" fmla="*/ 1524575 h 7034198"/>
                <a:gd name="connsiteX3" fmla="*/ 2771398 w 2806443"/>
                <a:gd name="connsiteY3" fmla="*/ 2258000 h 7034198"/>
                <a:gd name="connsiteX4" fmla="*/ 2533273 w 2806443"/>
                <a:gd name="connsiteY4" fmla="*/ 3448625 h 7034198"/>
                <a:gd name="connsiteX5" fmla="*/ 2104648 w 2806443"/>
                <a:gd name="connsiteY5" fmla="*/ 4458275 h 7034198"/>
                <a:gd name="connsiteX6" fmla="*/ 1485523 w 2806443"/>
                <a:gd name="connsiteY6" fmla="*/ 5544125 h 7034198"/>
                <a:gd name="connsiteX7" fmla="*/ 780673 w 2806443"/>
                <a:gd name="connsiteY7" fmla="*/ 6391850 h 7034198"/>
                <a:gd name="connsiteX8" fmla="*/ 304423 w 2806443"/>
                <a:gd name="connsiteY8" fmla="*/ 6810950 h 7034198"/>
                <a:gd name="connsiteX9" fmla="*/ 28198 w 2806443"/>
                <a:gd name="connsiteY9" fmla="*/ 7010975 h 7034198"/>
                <a:gd name="connsiteX10" fmla="*/ 9148 w 2806443"/>
                <a:gd name="connsiteY10" fmla="*/ 7030025 h 7034198"/>
                <a:gd name="connsiteX11" fmla="*/ 371098 w 2806443"/>
                <a:gd name="connsiteY11" fmla="*/ 6677600 h 7034198"/>
                <a:gd name="connsiteX12" fmla="*/ 675898 w 2806443"/>
                <a:gd name="connsiteY12" fmla="*/ 6306125 h 7034198"/>
                <a:gd name="connsiteX13" fmla="*/ 1218823 w 2806443"/>
                <a:gd name="connsiteY13" fmla="*/ 5601275 h 7034198"/>
                <a:gd name="connsiteX14" fmla="*/ 1818898 w 2806443"/>
                <a:gd name="connsiteY14" fmla="*/ 4705925 h 7034198"/>
                <a:gd name="connsiteX15" fmla="*/ 2295148 w 2806443"/>
                <a:gd name="connsiteY15" fmla="*/ 3601025 h 7034198"/>
                <a:gd name="connsiteX16" fmla="*/ 2580898 w 2806443"/>
                <a:gd name="connsiteY16" fmla="*/ 2562800 h 7034198"/>
                <a:gd name="connsiteX17" fmla="*/ 2628523 w 2806443"/>
                <a:gd name="connsiteY17" fmla="*/ 2048450 h 7034198"/>
                <a:gd name="connsiteX18" fmla="*/ 2552323 w 2806443"/>
                <a:gd name="connsiteY18" fmla="*/ 1067375 h 7034198"/>
                <a:gd name="connsiteX19" fmla="*/ 2504698 w 2806443"/>
                <a:gd name="connsiteY19" fmla="*/ 619700 h 7034198"/>
                <a:gd name="connsiteX20" fmla="*/ 2428498 w 2806443"/>
                <a:gd name="connsiteY20" fmla="*/ 575 h 703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06443" h="7034198">
                  <a:moveTo>
                    <a:pt x="2428498" y="575"/>
                  </a:moveTo>
                  <a:cubicBezTo>
                    <a:pt x="2449135" y="19625"/>
                    <a:pt x="2568198" y="480000"/>
                    <a:pt x="2628523" y="734000"/>
                  </a:cubicBezTo>
                  <a:cubicBezTo>
                    <a:pt x="2688848" y="988000"/>
                    <a:pt x="2766636" y="1270575"/>
                    <a:pt x="2790448" y="1524575"/>
                  </a:cubicBezTo>
                  <a:cubicBezTo>
                    <a:pt x="2814260" y="1778575"/>
                    <a:pt x="2814260" y="1937325"/>
                    <a:pt x="2771398" y="2258000"/>
                  </a:cubicBezTo>
                  <a:cubicBezTo>
                    <a:pt x="2728536" y="2578675"/>
                    <a:pt x="2644398" y="3081913"/>
                    <a:pt x="2533273" y="3448625"/>
                  </a:cubicBezTo>
                  <a:cubicBezTo>
                    <a:pt x="2422148" y="3815338"/>
                    <a:pt x="2279273" y="4109025"/>
                    <a:pt x="2104648" y="4458275"/>
                  </a:cubicBezTo>
                  <a:cubicBezTo>
                    <a:pt x="1930023" y="4807525"/>
                    <a:pt x="1706185" y="5221863"/>
                    <a:pt x="1485523" y="5544125"/>
                  </a:cubicBezTo>
                  <a:cubicBezTo>
                    <a:pt x="1264861" y="5866387"/>
                    <a:pt x="977523" y="6180713"/>
                    <a:pt x="780673" y="6391850"/>
                  </a:cubicBezTo>
                  <a:cubicBezTo>
                    <a:pt x="583823" y="6602987"/>
                    <a:pt x="429835" y="6707763"/>
                    <a:pt x="304423" y="6810950"/>
                  </a:cubicBezTo>
                  <a:cubicBezTo>
                    <a:pt x="179011" y="6914137"/>
                    <a:pt x="28198" y="7010975"/>
                    <a:pt x="28198" y="7010975"/>
                  </a:cubicBezTo>
                  <a:cubicBezTo>
                    <a:pt x="-21015" y="7047488"/>
                    <a:pt x="9148" y="7030025"/>
                    <a:pt x="9148" y="7030025"/>
                  </a:cubicBezTo>
                  <a:cubicBezTo>
                    <a:pt x="66298" y="6974463"/>
                    <a:pt x="259973" y="6798250"/>
                    <a:pt x="371098" y="6677600"/>
                  </a:cubicBezTo>
                  <a:cubicBezTo>
                    <a:pt x="482223" y="6556950"/>
                    <a:pt x="534610" y="6485513"/>
                    <a:pt x="675898" y="6306125"/>
                  </a:cubicBezTo>
                  <a:cubicBezTo>
                    <a:pt x="817185" y="6126738"/>
                    <a:pt x="1028323" y="5867975"/>
                    <a:pt x="1218823" y="5601275"/>
                  </a:cubicBezTo>
                  <a:cubicBezTo>
                    <a:pt x="1409323" y="5334575"/>
                    <a:pt x="1639510" y="5039300"/>
                    <a:pt x="1818898" y="4705925"/>
                  </a:cubicBezTo>
                  <a:cubicBezTo>
                    <a:pt x="1998286" y="4372550"/>
                    <a:pt x="2168148" y="3958213"/>
                    <a:pt x="2295148" y="3601025"/>
                  </a:cubicBezTo>
                  <a:cubicBezTo>
                    <a:pt x="2422148" y="3243837"/>
                    <a:pt x="2525336" y="2821563"/>
                    <a:pt x="2580898" y="2562800"/>
                  </a:cubicBezTo>
                  <a:cubicBezTo>
                    <a:pt x="2636461" y="2304038"/>
                    <a:pt x="2633285" y="2297687"/>
                    <a:pt x="2628523" y="2048450"/>
                  </a:cubicBezTo>
                  <a:cubicBezTo>
                    <a:pt x="2623761" y="1799213"/>
                    <a:pt x="2572961" y="1305500"/>
                    <a:pt x="2552323" y="1067375"/>
                  </a:cubicBezTo>
                  <a:cubicBezTo>
                    <a:pt x="2531686" y="829250"/>
                    <a:pt x="2528511" y="799088"/>
                    <a:pt x="2504698" y="619700"/>
                  </a:cubicBezTo>
                  <a:cubicBezTo>
                    <a:pt x="2480886" y="440313"/>
                    <a:pt x="2407861" y="-18475"/>
                    <a:pt x="2428498" y="575"/>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Freihandform 35"/>
            <p:cNvSpPr/>
            <p:nvPr/>
          </p:nvSpPr>
          <p:spPr>
            <a:xfrm>
              <a:off x="7842566" y="543086"/>
              <a:ext cx="3563078" cy="5490678"/>
            </a:xfrm>
            <a:custGeom>
              <a:avLst/>
              <a:gdLst>
                <a:gd name="connsiteX0" fmla="*/ 2548526 w 3864834"/>
                <a:gd name="connsiteY0" fmla="*/ 254314 h 5955683"/>
                <a:gd name="connsiteX1" fmla="*/ 2548526 w 3864834"/>
                <a:gd name="connsiteY1" fmla="*/ 566734 h 5955683"/>
                <a:gd name="connsiteX2" fmla="*/ 2540906 w 3864834"/>
                <a:gd name="connsiteY2" fmla="*/ 848674 h 5955683"/>
                <a:gd name="connsiteX3" fmla="*/ 2396126 w 3864834"/>
                <a:gd name="connsiteY3" fmla="*/ 1763074 h 5955683"/>
                <a:gd name="connsiteX4" fmla="*/ 2015126 w 3864834"/>
                <a:gd name="connsiteY4" fmla="*/ 2578414 h 5955683"/>
                <a:gd name="connsiteX5" fmla="*/ 1496966 w 3864834"/>
                <a:gd name="connsiteY5" fmla="*/ 3203254 h 5955683"/>
                <a:gd name="connsiteX6" fmla="*/ 1093106 w 3864834"/>
                <a:gd name="connsiteY6" fmla="*/ 3584254 h 5955683"/>
                <a:gd name="connsiteX7" fmla="*/ 529226 w 3864834"/>
                <a:gd name="connsiteY7" fmla="*/ 4026214 h 5955683"/>
                <a:gd name="connsiteX8" fmla="*/ 155846 w 3864834"/>
                <a:gd name="connsiteY8" fmla="*/ 4399594 h 5955683"/>
                <a:gd name="connsiteX9" fmla="*/ 26306 w 3864834"/>
                <a:gd name="connsiteY9" fmla="*/ 4673914 h 5955683"/>
                <a:gd name="connsiteX10" fmla="*/ 33926 w 3864834"/>
                <a:gd name="connsiteY10" fmla="*/ 5016814 h 5955683"/>
                <a:gd name="connsiteX11" fmla="*/ 376826 w 3864834"/>
                <a:gd name="connsiteY11" fmla="*/ 5374954 h 5955683"/>
                <a:gd name="connsiteX12" fmla="*/ 986426 w 3864834"/>
                <a:gd name="connsiteY12" fmla="*/ 5565454 h 5955683"/>
                <a:gd name="connsiteX13" fmla="*/ 1588406 w 3864834"/>
                <a:gd name="connsiteY13" fmla="*/ 5557834 h 5955683"/>
                <a:gd name="connsiteX14" fmla="*/ 2396126 w 3864834"/>
                <a:gd name="connsiteY14" fmla="*/ 5184454 h 5955683"/>
                <a:gd name="connsiteX15" fmla="*/ 2906666 w 3864834"/>
                <a:gd name="connsiteY15" fmla="*/ 4750114 h 5955683"/>
                <a:gd name="connsiteX16" fmla="*/ 3561986 w 3864834"/>
                <a:gd name="connsiteY16" fmla="*/ 3744274 h 5955683"/>
                <a:gd name="connsiteX17" fmla="*/ 3843926 w 3864834"/>
                <a:gd name="connsiteY17" fmla="*/ 2883214 h 5955683"/>
                <a:gd name="connsiteX18" fmla="*/ 3821066 w 3864834"/>
                <a:gd name="connsiteY18" fmla="*/ 2113594 h 5955683"/>
                <a:gd name="connsiteX19" fmla="*/ 3638186 w 3864834"/>
                <a:gd name="connsiteY19" fmla="*/ 1496374 h 5955683"/>
                <a:gd name="connsiteX20" fmla="*/ 3173366 w 3864834"/>
                <a:gd name="connsiteY20" fmla="*/ 856294 h 5955683"/>
                <a:gd name="connsiteX21" fmla="*/ 2784746 w 3864834"/>
                <a:gd name="connsiteY21" fmla="*/ 612454 h 5955683"/>
                <a:gd name="connsiteX22" fmla="*/ 2518046 w 3864834"/>
                <a:gd name="connsiteY22" fmla="*/ 574354 h 5955683"/>
                <a:gd name="connsiteX23" fmla="*/ 2457086 w 3864834"/>
                <a:gd name="connsiteY23" fmla="*/ 627694 h 5955683"/>
                <a:gd name="connsiteX24" fmla="*/ 2426606 w 3864834"/>
                <a:gd name="connsiteY24" fmla="*/ 749614 h 5955683"/>
                <a:gd name="connsiteX25" fmla="*/ 2335166 w 3864834"/>
                <a:gd name="connsiteY25" fmla="*/ 1161094 h 5955683"/>
                <a:gd name="connsiteX26" fmla="*/ 2152286 w 3864834"/>
                <a:gd name="connsiteY26" fmla="*/ 1923094 h 5955683"/>
                <a:gd name="connsiteX27" fmla="*/ 1824626 w 3864834"/>
                <a:gd name="connsiteY27" fmla="*/ 2616514 h 5955683"/>
                <a:gd name="connsiteX28" fmla="*/ 1138826 w 3864834"/>
                <a:gd name="connsiteY28" fmla="*/ 3546154 h 5955683"/>
                <a:gd name="connsiteX29" fmla="*/ 757826 w 3864834"/>
                <a:gd name="connsiteY29" fmla="*/ 4033834 h 5955683"/>
                <a:gd name="connsiteX30" fmla="*/ 498746 w 3864834"/>
                <a:gd name="connsiteY30" fmla="*/ 4506274 h 5955683"/>
                <a:gd name="connsiteX31" fmla="*/ 361586 w 3864834"/>
                <a:gd name="connsiteY31" fmla="*/ 5032054 h 5955683"/>
                <a:gd name="connsiteX32" fmla="*/ 376826 w 3864834"/>
                <a:gd name="connsiteY32" fmla="*/ 5390194 h 5955683"/>
                <a:gd name="connsiteX33" fmla="*/ 475886 w 3864834"/>
                <a:gd name="connsiteY33" fmla="*/ 5702614 h 5955683"/>
                <a:gd name="connsiteX34" fmla="*/ 719726 w 3864834"/>
                <a:gd name="connsiteY34" fmla="*/ 5893114 h 5955683"/>
                <a:gd name="connsiteX35" fmla="*/ 1184546 w 3864834"/>
                <a:gd name="connsiteY35" fmla="*/ 5946454 h 5955683"/>
                <a:gd name="connsiteX36" fmla="*/ 1778906 w 3864834"/>
                <a:gd name="connsiteY36" fmla="*/ 5725474 h 5955683"/>
                <a:gd name="connsiteX37" fmla="*/ 2335166 w 3864834"/>
                <a:gd name="connsiteY37" fmla="*/ 5253034 h 5955683"/>
                <a:gd name="connsiteX38" fmla="*/ 2678066 w 3864834"/>
                <a:gd name="connsiteY38" fmla="*/ 4872034 h 5955683"/>
                <a:gd name="connsiteX39" fmla="*/ 3158126 w 3864834"/>
                <a:gd name="connsiteY39" fmla="*/ 4148134 h 5955683"/>
                <a:gd name="connsiteX40" fmla="*/ 3424826 w 3864834"/>
                <a:gd name="connsiteY40" fmla="*/ 3614734 h 5955683"/>
                <a:gd name="connsiteX41" fmla="*/ 3569606 w 3864834"/>
                <a:gd name="connsiteY41" fmla="*/ 3180394 h 5955683"/>
                <a:gd name="connsiteX42" fmla="*/ 3676286 w 3864834"/>
                <a:gd name="connsiteY42" fmla="*/ 2479354 h 5955683"/>
                <a:gd name="connsiteX43" fmla="*/ 3683906 w 3864834"/>
                <a:gd name="connsiteY43" fmla="*/ 1679254 h 5955683"/>
                <a:gd name="connsiteX44" fmla="*/ 3531506 w 3864834"/>
                <a:gd name="connsiteY44" fmla="*/ 1206814 h 5955683"/>
                <a:gd name="connsiteX45" fmla="*/ 3287666 w 3864834"/>
                <a:gd name="connsiteY45" fmla="*/ 574354 h 5955683"/>
                <a:gd name="connsiteX46" fmla="*/ 2769506 w 3864834"/>
                <a:gd name="connsiteY46" fmla="*/ 10474 h 5955683"/>
                <a:gd name="connsiteX47" fmla="*/ 2548526 w 3864834"/>
                <a:gd name="connsiteY47" fmla="*/ 254314 h 595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864834" h="5955683">
                  <a:moveTo>
                    <a:pt x="2548526" y="254314"/>
                  </a:moveTo>
                  <a:cubicBezTo>
                    <a:pt x="2511696" y="347024"/>
                    <a:pt x="2549796" y="467674"/>
                    <a:pt x="2548526" y="566734"/>
                  </a:cubicBezTo>
                  <a:cubicBezTo>
                    <a:pt x="2547256" y="665794"/>
                    <a:pt x="2566306" y="649284"/>
                    <a:pt x="2540906" y="848674"/>
                  </a:cubicBezTo>
                  <a:cubicBezTo>
                    <a:pt x="2515506" y="1048064"/>
                    <a:pt x="2483756" y="1474784"/>
                    <a:pt x="2396126" y="1763074"/>
                  </a:cubicBezTo>
                  <a:cubicBezTo>
                    <a:pt x="2308496" y="2051364"/>
                    <a:pt x="2164986" y="2338384"/>
                    <a:pt x="2015126" y="2578414"/>
                  </a:cubicBezTo>
                  <a:cubicBezTo>
                    <a:pt x="1865266" y="2818444"/>
                    <a:pt x="1650636" y="3035614"/>
                    <a:pt x="1496966" y="3203254"/>
                  </a:cubicBezTo>
                  <a:cubicBezTo>
                    <a:pt x="1343296" y="3370894"/>
                    <a:pt x="1254396" y="3447094"/>
                    <a:pt x="1093106" y="3584254"/>
                  </a:cubicBezTo>
                  <a:cubicBezTo>
                    <a:pt x="931816" y="3721414"/>
                    <a:pt x="685436" y="3890324"/>
                    <a:pt x="529226" y="4026214"/>
                  </a:cubicBezTo>
                  <a:cubicBezTo>
                    <a:pt x="373016" y="4162104"/>
                    <a:pt x="239666" y="4291644"/>
                    <a:pt x="155846" y="4399594"/>
                  </a:cubicBezTo>
                  <a:cubicBezTo>
                    <a:pt x="72026" y="4507544"/>
                    <a:pt x="46626" y="4571044"/>
                    <a:pt x="26306" y="4673914"/>
                  </a:cubicBezTo>
                  <a:cubicBezTo>
                    <a:pt x="5986" y="4776784"/>
                    <a:pt x="-24494" y="4899974"/>
                    <a:pt x="33926" y="5016814"/>
                  </a:cubicBezTo>
                  <a:cubicBezTo>
                    <a:pt x="92346" y="5133654"/>
                    <a:pt x="218076" y="5283514"/>
                    <a:pt x="376826" y="5374954"/>
                  </a:cubicBezTo>
                  <a:cubicBezTo>
                    <a:pt x="535576" y="5466394"/>
                    <a:pt x="784496" y="5534974"/>
                    <a:pt x="986426" y="5565454"/>
                  </a:cubicBezTo>
                  <a:cubicBezTo>
                    <a:pt x="1188356" y="5595934"/>
                    <a:pt x="1353456" y="5621334"/>
                    <a:pt x="1588406" y="5557834"/>
                  </a:cubicBezTo>
                  <a:cubicBezTo>
                    <a:pt x="1823356" y="5494334"/>
                    <a:pt x="2176416" y="5319074"/>
                    <a:pt x="2396126" y="5184454"/>
                  </a:cubicBezTo>
                  <a:cubicBezTo>
                    <a:pt x="2615836" y="5049834"/>
                    <a:pt x="2712356" y="4990144"/>
                    <a:pt x="2906666" y="4750114"/>
                  </a:cubicBezTo>
                  <a:cubicBezTo>
                    <a:pt x="3100976" y="4510084"/>
                    <a:pt x="3405776" y="4055424"/>
                    <a:pt x="3561986" y="3744274"/>
                  </a:cubicBezTo>
                  <a:cubicBezTo>
                    <a:pt x="3718196" y="3433124"/>
                    <a:pt x="3800746" y="3154994"/>
                    <a:pt x="3843926" y="2883214"/>
                  </a:cubicBezTo>
                  <a:cubicBezTo>
                    <a:pt x="3887106" y="2611434"/>
                    <a:pt x="3855356" y="2344734"/>
                    <a:pt x="3821066" y="2113594"/>
                  </a:cubicBezTo>
                  <a:cubicBezTo>
                    <a:pt x="3786776" y="1882454"/>
                    <a:pt x="3746136" y="1705924"/>
                    <a:pt x="3638186" y="1496374"/>
                  </a:cubicBezTo>
                  <a:cubicBezTo>
                    <a:pt x="3530236" y="1286824"/>
                    <a:pt x="3315606" y="1003614"/>
                    <a:pt x="3173366" y="856294"/>
                  </a:cubicBezTo>
                  <a:cubicBezTo>
                    <a:pt x="3031126" y="708974"/>
                    <a:pt x="2893966" y="659444"/>
                    <a:pt x="2784746" y="612454"/>
                  </a:cubicBezTo>
                  <a:cubicBezTo>
                    <a:pt x="2675526" y="565464"/>
                    <a:pt x="2572656" y="571814"/>
                    <a:pt x="2518046" y="574354"/>
                  </a:cubicBezTo>
                  <a:cubicBezTo>
                    <a:pt x="2463436" y="576894"/>
                    <a:pt x="2472326" y="598484"/>
                    <a:pt x="2457086" y="627694"/>
                  </a:cubicBezTo>
                  <a:cubicBezTo>
                    <a:pt x="2441846" y="656904"/>
                    <a:pt x="2446926" y="660714"/>
                    <a:pt x="2426606" y="749614"/>
                  </a:cubicBezTo>
                  <a:cubicBezTo>
                    <a:pt x="2406286" y="838514"/>
                    <a:pt x="2380886" y="965514"/>
                    <a:pt x="2335166" y="1161094"/>
                  </a:cubicBezTo>
                  <a:cubicBezTo>
                    <a:pt x="2289446" y="1356674"/>
                    <a:pt x="2237376" y="1680524"/>
                    <a:pt x="2152286" y="1923094"/>
                  </a:cubicBezTo>
                  <a:cubicBezTo>
                    <a:pt x="2067196" y="2165664"/>
                    <a:pt x="1993536" y="2346004"/>
                    <a:pt x="1824626" y="2616514"/>
                  </a:cubicBezTo>
                  <a:cubicBezTo>
                    <a:pt x="1655716" y="2887024"/>
                    <a:pt x="1316626" y="3309934"/>
                    <a:pt x="1138826" y="3546154"/>
                  </a:cubicBezTo>
                  <a:cubicBezTo>
                    <a:pt x="961026" y="3782374"/>
                    <a:pt x="864506" y="3873814"/>
                    <a:pt x="757826" y="4033834"/>
                  </a:cubicBezTo>
                  <a:cubicBezTo>
                    <a:pt x="651146" y="4193854"/>
                    <a:pt x="564786" y="4339904"/>
                    <a:pt x="498746" y="4506274"/>
                  </a:cubicBezTo>
                  <a:cubicBezTo>
                    <a:pt x="432706" y="4672644"/>
                    <a:pt x="381906" y="4884734"/>
                    <a:pt x="361586" y="5032054"/>
                  </a:cubicBezTo>
                  <a:cubicBezTo>
                    <a:pt x="341266" y="5179374"/>
                    <a:pt x="357776" y="5278434"/>
                    <a:pt x="376826" y="5390194"/>
                  </a:cubicBezTo>
                  <a:cubicBezTo>
                    <a:pt x="395876" y="5501954"/>
                    <a:pt x="418736" y="5618794"/>
                    <a:pt x="475886" y="5702614"/>
                  </a:cubicBezTo>
                  <a:cubicBezTo>
                    <a:pt x="533036" y="5786434"/>
                    <a:pt x="601616" y="5852474"/>
                    <a:pt x="719726" y="5893114"/>
                  </a:cubicBezTo>
                  <a:cubicBezTo>
                    <a:pt x="837836" y="5933754"/>
                    <a:pt x="1008016" y="5974394"/>
                    <a:pt x="1184546" y="5946454"/>
                  </a:cubicBezTo>
                  <a:cubicBezTo>
                    <a:pt x="1361076" y="5918514"/>
                    <a:pt x="1587136" y="5841044"/>
                    <a:pt x="1778906" y="5725474"/>
                  </a:cubicBezTo>
                  <a:cubicBezTo>
                    <a:pt x="1970676" y="5609904"/>
                    <a:pt x="2185306" y="5395274"/>
                    <a:pt x="2335166" y="5253034"/>
                  </a:cubicBezTo>
                  <a:cubicBezTo>
                    <a:pt x="2485026" y="5110794"/>
                    <a:pt x="2540906" y="5056184"/>
                    <a:pt x="2678066" y="4872034"/>
                  </a:cubicBezTo>
                  <a:cubicBezTo>
                    <a:pt x="2815226" y="4687884"/>
                    <a:pt x="3033666" y="4357684"/>
                    <a:pt x="3158126" y="4148134"/>
                  </a:cubicBezTo>
                  <a:cubicBezTo>
                    <a:pt x="3282586" y="3938584"/>
                    <a:pt x="3356246" y="3776024"/>
                    <a:pt x="3424826" y="3614734"/>
                  </a:cubicBezTo>
                  <a:cubicBezTo>
                    <a:pt x="3493406" y="3453444"/>
                    <a:pt x="3527696" y="3369624"/>
                    <a:pt x="3569606" y="3180394"/>
                  </a:cubicBezTo>
                  <a:cubicBezTo>
                    <a:pt x="3611516" y="2991164"/>
                    <a:pt x="3657236" y="2729544"/>
                    <a:pt x="3676286" y="2479354"/>
                  </a:cubicBezTo>
                  <a:cubicBezTo>
                    <a:pt x="3695336" y="2229164"/>
                    <a:pt x="3708036" y="1891344"/>
                    <a:pt x="3683906" y="1679254"/>
                  </a:cubicBezTo>
                  <a:cubicBezTo>
                    <a:pt x="3659776" y="1467164"/>
                    <a:pt x="3597546" y="1390964"/>
                    <a:pt x="3531506" y="1206814"/>
                  </a:cubicBezTo>
                  <a:cubicBezTo>
                    <a:pt x="3465466" y="1022664"/>
                    <a:pt x="3414666" y="773744"/>
                    <a:pt x="3287666" y="574354"/>
                  </a:cubicBezTo>
                  <a:cubicBezTo>
                    <a:pt x="3160666" y="374964"/>
                    <a:pt x="2890156" y="70164"/>
                    <a:pt x="2769506" y="10474"/>
                  </a:cubicBezTo>
                  <a:cubicBezTo>
                    <a:pt x="2648856" y="-49216"/>
                    <a:pt x="2585356" y="161604"/>
                    <a:pt x="2548526" y="254314"/>
                  </a:cubicBezTo>
                  <a:close/>
                </a:path>
              </a:pathLst>
            </a:custGeom>
            <a:noFill/>
            <a:ln w="127000" cmpd="tri">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cxnSp>
        <p:nvCxnSpPr>
          <p:cNvPr id="10" name="Gerader Verbinder 9"/>
          <p:cNvCxnSpPr/>
          <p:nvPr/>
        </p:nvCxnSpPr>
        <p:spPr>
          <a:xfrm>
            <a:off x="7021191" y="2664447"/>
            <a:ext cx="1642750" cy="0"/>
          </a:xfrm>
          <a:prstGeom prst="line">
            <a:avLst/>
          </a:prstGeom>
          <a:ln w="127000" cmpd="tri">
            <a:solidFill>
              <a:srgbClr val="EF7C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4946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7. </a:t>
            </a:r>
            <a:r>
              <a:rPr lang="de-DE" dirty="0" err="1"/>
              <a:t>Survive</a:t>
            </a:r>
            <a:r>
              <a:rPr lang="de-DE" dirty="0"/>
              <a:t/>
            </a:r>
            <a:br>
              <a:rPr lang="de-DE" dirty="0"/>
            </a:br>
            <a:r>
              <a:rPr lang="de-DE" dirty="0" err="1"/>
              <a:t>Ionization</a:t>
            </a:r>
            <a:r>
              <a:rPr lang="de-DE" dirty="0"/>
              <a:t> front </a:t>
            </a:r>
            <a:r>
              <a:rPr lang="de-DE" dirty="0" err="1"/>
              <a:t>control</a:t>
            </a:r>
            <a:r>
              <a:rPr lang="de-DE" dirty="0"/>
              <a:t> </a:t>
            </a:r>
            <a:r>
              <a:rPr lang="de-DE" dirty="0" err="1"/>
              <a:t>by</a:t>
            </a:r>
            <a:r>
              <a:rPr lang="de-DE" dirty="0"/>
              <a:t> D </a:t>
            </a:r>
            <a:r>
              <a:rPr lang="de-DE" dirty="0" err="1"/>
              <a:t>fueling</a:t>
            </a:r>
            <a:r>
              <a:rPr lang="de-DE" dirty="0"/>
              <a:t> </a:t>
            </a:r>
            <a:r>
              <a:rPr lang="de-DE" dirty="0" err="1"/>
              <a:t>feedback</a:t>
            </a:r>
            <a:r>
              <a:rPr lang="de-DE" dirty="0"/>
              <a:t> on Langmuir</a:t>
            </a:r>
            <a:endParaRPr lang="de-DE" sz="2000"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10</a:t>
            </a:fld>
            <a:endParaRPr lang="de-DE" dirty="0"/>
          </a:p>
        </p:txBody>
      </p:sp>
      <p:pic>
        <p:nvPicPr>
          <p:cNvPr id="6" name="Grafik 5"/>
          <p:cNvPicPr>
            <a:picLocks noChangeAspect="1"/>
          </p:cNvPicPr>
          <p:nvPr/>
        </p:nvPicPr>
        <p:blipFill rotWithShape="1">
          <a:blip r:embed="rId2">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0" name="Gerader Verbinder 9"/>
          <p:cNvCxnSpPr/>
          <p:nvPr/>
        </p:nvCxnSpPr>
        <p:spPr>
          <a:xfrm>
            <a:off x="4873841" y="4793942"/>
            <a:ext cx="0" cy="1695757"/>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303146" y="4793942"/>
            <a:ext cx="1480" cy="1561174"/>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ihandform 10"/>
          <p:cNvSpPr/>
          <p:nvPr/>
        </p:nvSpPr>
        <p:spPr>
          <a:xfrm>
            <a:off x="6303146" y="3932808"/>
            <a:ext cx="5903650" cy="2379215"/>
          </a:xfrm>
          <a:custGeom>
            <a:avLst/>
            <a:gdLst>
              <a:gd name="connsiteX0" fmla="*/ 0 w 5903650"/>
              <a:gd name="connsiteY0" fmla="*/ 2379215 h 2379215"/>
              <a:gd name="connsiteX1" fmla="*/ 1207363 w 5903650"/>
              <a:gd name="connsiteY1" fmla="*/ 2166151 h 2379215"/>
              <a:gd name="connsiteX2" fmla="*/ 3080551 w 5903650"/>
              <a:gd name="connsiteY2" fmla="*/ 1642369 h 2379215"/>
              <a:gd name="connsiteX3" fmla="*/ 4793941 w 5903650"/>
              <a:gd name="connsiteY3" fmla="*/ 798990 h 2379215"/>
              <a:gd name="connsiteX4" fmla="*/ 5903650 w 5903650"/>
              <a:gd name="connsiteY4" fmla="*/ 0 h 2379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3650" h="2379215">
                <a:moveTo>
                  <a:pt x="0" y="2379215"/>
                </a:moveTo>
                <a:cubicBezTo>
                  <a:pt x="346969" y="2334087"/>
                  <a:pt x="693938" y="2288959"/>
                  <a:pt x="1207363" y="2166151"/>
                </a:cubicBezTo>
                <a:cubicBezTo>
                  <a:pt x="1720788" y="2043343"/>
                  <a:pt x="2482788" y="1870229"/>
                  <a:pt x="3080551" y="1642369"/>
                </a:cubicBezTo>
                <a:cubicBezTo>
                  <a:pt x="3678314" y="1414509"/>
                  <a:pt x="4323425" y="1072718"/>
                  <a:pt x="4793941" y="798990"/>
                </a:cubicBezTo>
                <a:cubicBezTo>
                  <a:pt x="5264457" y="525262"/>
                  <a:pt x="5584053" y="262631"/>
                  <a:pt x="590365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19"/>
          <p:cNvSpPr/>
          <p:nvPr/>
        </p:nvSpPr>
        <p:spPr>
          <a:xfrm>
            <a:off x="8878" y="4864963"/>
            <a:ext cx="4847207" cy="1618657"/>
          </a:xfrm>
          <a:custGeom>
            <a:avLst/>
            <a:gdLst>
              <a:gd name="connsiteX0" fmla="*/ 4847207 w 4847207"/>
              <a:gd name="connsiteY0" fmla="*/ 1597981 h 1618657"/>
              <a:gd name="connsiteX1" fmla="*/ 3835153 w 4847207"/>
              <a:gd name="connsiteY1" fmla="*/ 1589103 h 1618657"/>
              <a:gd name="connsiteX2" fmla="*/ 2219417 w 4847207"/>
              <a:gd name="connsiteY2" fmla="*/ 1313895 h 1618657"/>
              <a:gd name="connsiteX3" fmla="*/ 1074198 w 4847207"/>
              <a:gd name="connsiteY3" fmla="*/ 825623 h 1618657"/>
              <a:gd name="connsiteX4" fmla="*/ 0 w 4847207"/>
              <a:gd name="connsiteY4" fmla="*/ 0 h 16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207" h="1618657">
                <a:moveTo>
                  <a:pt x="4847207" y="1597981"/>
                </a:moveTo>
                <a:cubicBezTo>
                  <a:pt x="4560162" y="1617216"/>
                  <a:pt x="4273118" y="1636451"/>
                  <a:pt x="3835153" y="1589103"/>
                </a:cubicBezTo>
                <a:cubicBezTo>
                  <a:pt x="3397188" y="1541755"/>
                  <a:pt x="2679576" y="1441142"/>
                  <a:pt x="2219417" y="1313895"/>
                </a:cubicBezTo>
                <a:cubicBezTo>
                  <a:pt x="1759258" y="1186648"/>
                  <a:pt x="1444101" y="1044605"/>
                  <a:pt x="1074198" y="825623"/>
                </a:cubicBezTo>
                <a:cubicBezTo>
                  <a:pt x="704295" y="606641"/>
                  <a:pt x="352147" y="303320"/>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p:cNvSpPr/>
          <p:nvPr/>
        </p:nvSpPr>
        <p:spPr>
          <a:xfrm>
            <a:off x="4915559" y="5457877"/>
            <a:ext cx="562554"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 d</a:t>
            </a:r>
            <a:endParaRPr lang="de-DE" sz="1300" b="1" dirty="0" smtClean="0"/>
          </a:p>
        </p:txBody>
      </p:sp>
      <p:sp>
        <p:nvSpPr>
          <p:cNvPr id="24" name="Rechteck 23"/>
          <p:cNvSpPr/>
          <p:nvPr/>
        </p:nvSpPr>
        <p:spPr>
          <a:xfrm>
            <a:off x="5696791" y="5432724"/>
            <a:ext cx="596619"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d</a:t>
            </a:r>
          </a:p>
        </p:txBody>
      </p:sp>
      <mc:AlternateContent xmlns:mc="http://schemas.openxmlformats.org/markup-compatibility/2006">
        <mc:Choice xmlns:a14="http://schemas.microsoft.com/office/drawing/2010/main" Requires="a14">
          <p:sp>
            <p:nvSpPr>
              <p:cNvPr id="25" name="Textfeld 24"/>
              <p:cNvSpPr txBox="1"/>
              <p:nvPr/>
            </p:nvSpPr>
            <p:spPr>
              <a:xfrm>
                <a:off x="6475195" y="5574927"/>
                <a:ext cx="87434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b="1" i="1" smtClean="0">
                          <a:solidFill>
                            <a:schemeClr val="tx1"/>
                          </a:solidFill>
                          <a:latin typeface="Cambria Math" panose="02040503050406030204" pitchFamily="18" charset="0"/>
                        </a:rPr>
                        <m:t>𝑲𝒏</m:t>
                      </m:r>
                      <m:r>
                        <a:rPr lang="de-DE" sz="1600" b="1" i="1" smtClean="0">
                          <a:solidFill>
                            <a:schemeClr val="tx1"/>
                          </a:solidFill>
                          <a:latin typeface="Cambria Math" panose="02040503050406030204" pitchFamily="18" charset="0"/>
                        </a:rPr>
                        <m:t>= </m:t>
                      </m:r>
                      <m:f>
                        <m:fPr>
                          <m:ctrlPr>
                            <a:rPr lang="de-DE" sz="1600" b="1" i="1">
                              <a:solidFill>
                                <a:schemeClr val="tx1"/>
                              </a:solidFill>
                              <a:latin typeface="Cambria Math" panose="02040503050406030204" pitchFamily="18" charset="0"/>
                            </a:rPr>
                          </m:ctrlPr>
                        </m:fPr>
                        <m:num>
                          <m:sSub>
                            <m:sSubPr>
                              <m:ctrlPr>
                                <a:rPr lang="de-DE" sz="1600" b="1" i="1" smtClean="0">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𝝀</m:t>
                              </m:r>
                            </m:e>
                            <m:sub>
                              <m:r>
                                <a:rPr lang="de-DE" sz="1600" b="1" i="1" smtClean="0">
                                  <a:solidFill>
                                    <a:schemeClr val="tx1"/>
                                  </a:solidFill>
                                  <a:latin typeface="Cambria Math" panose="02040503050406030204" pitchFamily="18" charset="0"/>
                                </a:rPr>
                                <m:t>𝟎</m:t>
                              </m:r>
                            </m:sub>
                          </m:sSub>
                        </m:num>
                        <m:den>
                          <m:r>
                            <a:rPr lang="de-DE" sz="1600" b="1" i="1">
                              <a:solidFill>
                                <a:schemeClr val="tx1"/>
                              </a:solidFill>
                              <a:latin typeface="Cambria Math" panose="02040503050406030204" pitchFamily="18" charset="0"/>
                            </a:rPr>
                            <m:t>𝒅</m:t>
                          </m:r>
                        </m:den>
                      </m:f>
                    </m:oMath>
                  </m:oMathPara>
                </a14:m>
                <a:endParaRPr lang="de-DE" sz="1600" b="1" dirty="0" err="1">
                  <a:solidFill>
                    <a:schemeClr val="tx1"/>
                  </a:solidFill>
                </a:endParaRPr>
              </a:p>
            </p:txBody>
          </p:sp>
        </mc:Choice>
        <mc:Fallback>
          <p:sp>
            <p:nvSpPr>
              <p:cNvPr id="25" name="Textfeld 24"/>
              <p:cNvSpPr txBox="1">
                <a:spLocks noRot="1" noChangeAspect="1" noMove="1" noResize="1" noEditPoints="1" noAdjustHandles="1" noChangeArrowheads="1" noChangeShapeType="1" noTextEdit="1"/>
              </p:cNvSpPr>
              <p:nvPr/>
            </p:nvSpPr>
            <p:spPr>
              <a:xfrm>
                <a:off x="6475195" y="5574927"/>
                <a:ext cx="874342" cy="294953"/>
              </a:xfrm>
              <a:prstGeom prst="rect">
                <a:avLst/>
              </a:prstGeom>
              <a:blipFill>
                <a:blip r:embed="rId3"/>
                <a:stretch>
                  <a:fillRect l="-4167" t="-47917" r="-694" b="-37500"/>
                </a:stretch>
              </a:blipFill>
            </p:spPr>
            <p:txBody>
              <a:bodyPr/>
              <a:lstStyle/>
              <a:p>
                <a:r>
                  <a:rPr lang="de-DE">
                    <a:noFill/>
                  </a:rPr>
                  <a:t> </a:t>
                </a:r>
              </a:p>
            </p:txBody>
          </p:sp>
        </mc:Fallback>
      </mc:AlternateContent>
      <p:cxnSp>
        <p:nvCxnSpPr>
          <p:cNvPr id="26" name="Gerade Verbindung mit Pfeil 25"/>
          <p:cNvCxnSpPr>
            <a:stCxn id="23" idx="1"/>
            <a:endCxn id="23" idx="3"/>
          </p:cNvCxnSpPr>
          <p:nvPr/>
        </p:nvCxnSpPr>
        <p:spPr>
          <a:xfrm>
            <a:off x="4915559" y="5830137"/>
            <a:ext cx="562554"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5728339" y="5811924"/>
            <a:ext cx="556193"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Inhaltsplatzhalter 11"/>
          <p:cNvPicPr>
            <a:picLocks noGrp="1" noChangeAspect="1"/>
          </p:cNvPicPr>
          <p:nvPr>
            <p:ph sz="quarter" idx="13"/>
          </p:nvPr>
        </p:nvPicPr>
        <p:blipFill rotWithShape="1">
          <a:blip r:embed="rId4">
            <a:extLst>
              <a:ext uri="{28A0092B-C50C-407E-A947-70E740481C1C}">
                <a14:useLocalDpi xmlns:a14="http://schemas.microsoft.com/office/drawing/2010/main" val="0"/>
              </a:ext>
            </a:extLst>
          </a:blip>
          <a:srcRect l="8195" t="3489" r="57083" b="79980"/>
          <a:stretch/>
        </p:blipFill>
        <p:spPr>
          <a:xfrm rot="5400000">
            <a:off x="4016136" y="5713396"/>
            <a:ext cx="2383045" cy="581463"/>
          </a:xfrm>
        </p:spPr>
      </p:pic>
      <p:sp>
        <p:nvSpPr>
          <p:cNvPr id="28" name="Rechteck 27"/>
          <p:cNvSpPr/>
          <p:nvPr/>
        </p:nvSpPr>
        <p:spPr>
          <a:xfrm rot="1710701">
            <a:off x="2374819" y="3115513"/>
            <a:ext cx="335649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Rechteck 28"/>
          <p:cNvSpPr/>
          <p:nvPr/>
        </p:nvSpPr>
        <p:spPr>
          <a:xfrm rot="20324212">
            <a:off x="5489393" y="3042009"/>
            <a:ext cx="486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Rechteck 29"/>
          <p:cNvSpPr/>
          <p:nvPr/>
        </p:nvSpPr>
        <p:spPr>
          <a:xfrm rot="3992824">
            <a:off x="2284957" y="2844552"/>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Rechteck 30"/>
          <p:cNvSpPr/>
          <p:nvPr/>
        </p:nvSpPr>
        <p:spPr>
          <a:xfrm rot="3992824">
            <a:off x="1723016" y="306175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Rechteck 31"/>
          <p:cNvSpPr/>
          <p:nvPr/>
        </p:nvSpPr>
        <p:spPr>
          <a:xfrm rot="19214977">
            <a:off x="9218395" y="2485731"/>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Rechteck 32"/>
          <p:cNvSpPr/>
          <p:nvPr/>
        </p:nvSpPr>
        <p:spPr>
          <a:xfrm rot="19214977">
            <a:off x="9560482" y="287626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 name="Gerade Verbindung mit Pfeil 6"/>
          <p:cNvCxnSpPr/>
          <p:nvPr/>
        </p:nvCxnSpPr>
        <p:spPr>
          <a:xfrm>
            <a:off x="1866900" y="2724150"/>
            <a:ext cx="419100" cy="1019175"/>
          </a:xfrm>
          <a:prstGeom prst="straightConnector1">
            <a:avLst/>
          </a:prstGeom>
          <a:ln w="19050" cmpd="sng">
            <a:solidFill>
              <a:schemeClr val="tx1"/>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3" name="Rechteck 12"/>
              <p:cNvSpPr/>
              <p:nvPr/>
            </p:nvSpPr>
            <p:spPr>
              <a:xfrm>
                <a:off x="1233952" y="2814910"/>
                <a:ext cx="790536" cy="923330"/>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smtClean="0">
                              <a:solidFill>
                                <a:schemeClr val="tx1"/>
                              </a:solidFill>
                              <a:latin typeface="Cambria Math" panose="02040503050406030204" pitchFamily="18" charset="0"/>
                            </a:rPr>
                          </m:ctrlPr>
                        </m:sSubPr>
                        <m:e>
                          <m:r>
                            <m:rPr>
                              <m:sty m:val="p"/>
                            </m:rPr>
                            <a:rPr lang="el-GR" i="1">
                              <a:solidFill>
                                <a:schemeClr val="tx1"/>
                              </a:solidFill>
                              <a:latin typeface="Cambria Math" panose="02040503050406030204" pitchFamily="18" charset="0"/>
                            </a:rPr>
                            <m:t>λ</m:t>
                          </m:r>
                        </m:e>
                        <m:sub>
                          <m:r>
                            <a:rPr lang="de-DE" b="1" i="1">
                              <a:solidFill>
                                <a:schemeClr val="tx1"/>
                              </a:solidFill>
                              <a:latin typeface="Cambria Math" panose="02040503050406030204" pitchFamily="18" charset="0"/>
                            </a:rPr>
                            <m:t>𝟎</m:t>
                          </m:r>
                        </m:sub>
                      </m:sSub>
                    </m:oMath>
                  </m:oMathPara>
                </a14:m>
                <a:endParaRPr lang="de-DE" dirty="0" smtClean="0"/>
              </a:p>
              <a:p>
                <a:pPr algn="ctr"/>
                <a:r>
                  <a:rPr lang="de-DE" dirty="0" err="1" smtClean="0"/>
                  <a:t>or</a:t>
                </a:r>
                <a:endParaRPr lang="de-DE" dirty="0" smtClean="0"/>
              </a:p>
              <a:p>
                <a:pPr algn="ctr"/>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a:latin typeface="Cambria Math" panose="02040503050406030204" pitchFamily="18" charset="0"/>
                            </a:rPr>
                          </m:ctrlPr>
                        </m:sSubPr>
                        <m:e>
                          <m:r>
                            <m:rPr>
                              <m:sty m:val="p"/>
                            </m:rPr>
                            <a:rPr lang="el-GR" i="1">
                              <a:latin typeface="Cambria Math" panose="02040503050406030204" pitchFamily="18" charset="0"/>
                            </a:rPr>
                            <m:t>λ</m:t>
                          </m:r>
                        </m:e>
                        <m:sub>
                          <m:r>
                            <a:rPr lang="de-DE" b="1" i="1">
                              <a:latin typeface="Cambria Math" panose="02040503050406030204" pitchFamily="18" charset="0"/>
                            </a:rPr>
                            <m:t>𝒊𝒛</m:t>
                          </m:r>
                        </m:sub>
                      </m:sSub>
                    </m:oMath>
                  </m:oMathPara>
                </a14:m>
                <a:endParaRPr lang="de-DE" dirty="0"/>
              </a:p>
            </p:txBody>
          </p:sp>
        </mc:Choice>
        <mc:Fallback>
          <p:sp>
            <p:nvSpPr>
              <p:cNvPr id="13" name="Rechteck 12"/>
              <p:cNvSpPr>
                <a:spLocks noRot="1" noChangeAspect="1" noMove="1" noResize="1" noEditPoints="1" noAdjustHandles="1" noChangeArrowheads="1" noChangeShapeType="1" noTextEdit="1"/>
              </p:cNvSpPr>
              <p:nvPr/>
            </p:nvSpPr>
            <p:spPr>
              <a:xfrm>
                <a:off x="1233952" y="2814910"/>
                <a:ext cx="790536" cy="923330"/>
              </a:xfrm>
              <a:prstGeom prst="rect">
                <a:avLst/>
              </a:prstGeom>
              <a:blipFill>
                <a:blip r:embed="rId5"/>
                <a:stretch>
                  <a:fillRect/>
                </a:stretch>
              </a:blipFill>
            </p:spPr>
            <p:txBody>
              <a:bodyPr/>
              <a:lstStyle/>
              <a:p>
                <a:r>
                  <a:rPr lang="de-DE">
                    <a:noFill/>
                  </a:rPr>
                  <a:t> </a:t>
                </a:r>
              </a:p>
            </p:txBody>
          </p:sp>
        </mc:Fallback>
      </mc:AlternateContent>
      <p:sp>
        <p:nvSpPr>
          <p:cNvPr id="37" name="Freihandform 36"/>
          <p:cNvSpPr/>
          <p:nvPr/>
        </p:nvSpPr>
        <p:spPr>
          <a:xfrm>
            <a:off x="2533650" y="3629025"/>
            <a:ext cx="2343150" cy="1219200"/>
          </a:xfrm>
          <a:custGeom>
            <a:avLst/>
            <a:gdLst>
              <a:gd name="connsiteX0" fmla="*/ 2343150 w 2343150"/>
              <a:gd name="connsiteY0" fmla="*/ 1219200 h 1219200"/>
              <a:gd name="connsiteX1" fmla="*/ 1428750 w 2343150"/>
              <a:gd name="connsiteY1" fmla="*/ 1038225 h 1219200"/>
              <a:gd name="connsiteX2" fmla="*/ 561975 w 2343150"/>
              <a:gd name="connsiteY2" fmla="*/ 628650 h 1219200"/>
              <a:gd name="connsiteX3" fmla="*/ 0 w 2343150"/>
              <a:gd name="connsiteY3" fmla="*/ 0 h 1219200"/>
            </a:gdLst>
            <a:ahLst/>
            <a:cxnLst>
              <a:cxn ang="0">
                <a:pos x="connsiteX0" y="connsiteY0"/>
              </a:cxn>
              <a:cxn ang="0">
                <a:pos x="connsiteX1" y="connsiteY1"/>
              </a:cxn>
              <a:cxn ang="0">
                <a:pos x="connsiteX2" y="connsiteY2"/>
              </a:cxn>
              <a:cxn ang="0">
                <a:pos x="connsiteX3" y="connsiteY3"/>
              </a:cxn>
            </a:cxnLst>
            <a:rect l="l" t="t" r="r" b="b"/>
            <a:pathLst>
              <a:path w="2343150" h="1219200">
                <a:moveTo>
                  <a:pt x="2343150" y="1219200"/>
                </a:moveTo>
                <a:cubicBezTo>
                  <a:pt x="2034381" y="1177925"/>
                  <a:pt x="1725612" y="1136650"/>
                  <a:pt x="1428750" y="1038225"/>
                </a:cubicBezTo>
                <a:cubicBezTo>
                  <a:pt x="1131887" y="939800"/>
                  <a:pt x="800100" y="801687"/>
                  <a:pt x="561975" y="628650"/>
                </a:cubicBezTo>
                <a:cubicBezTo>
                  <a:pt x="323850" y="455612"/>
                  <a:pt x="161925" y="227806"/>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ihandform 37"/>
          <p:cNvSpPr/>
          <p:nvPr/>
        </p:nvSpPr>
        <p:spPr>
          <a:xfrm>
            <a:off x="6305550" y="3267075"/>
            <a:ext cx="3324225" cy="1514475"/>
          </a:xfrm>
          <a:custGeom>
            <a:avLst/>
            <a:gdLst>
              <a:gd name="connsiteX0" fmla="*/ 0 w 3324225"/>
              <a:gd name="connsiteY0" fmla="*/ 1514475 h 1514475"/>
              <a:gd name="connsiteX1" fmla="*/ 1219200 w 3324225"/>
              <a:gd name="connsiteY1" fmla="*/ 1190625 h 1514475"/>
              <a:gd name="connsiteX2" fmla="*/ 2771775 w 3324225"/>
              <a:gd name="connsiteY2" fmla="*/ 419100 h 1514475"/>
              <a:gd name="connsiteX3" fmla="*/ 3324225 w 3324225"/>
              <a:gd name="connsiteY3" fmla="*/ 0 h 1514475"/>
            </a:gdLst>
            <a:ahLst/>
            <a:cxnLst>
              <a:cxn ang="0">
                <a:pos x="connsiteX0" y="connsiteY0"/>
              </a:cxn>
              <a:cxn ang="0">
                <a:pos x="connsiteX1" y="connsiteY1"/>
              </a:cxn>
              <a:cxn ang="0">
                <a:pos x="connsiteX2" y="connsiteY2"/>
              </a:cxn>
              <a:cxn ang="0">
                <a:pos x="connsiteX3" y="connsiteY3"/>
              </a:cxn>
            </a:cxnLst>
            <a:rect l="l" t="t" r="r" b="b"/>
            <a:pathLst>
              <a:path w="3324225" h="1514475">
                <a:moveTo>
                  <a:pt x="0" y="1514475"/>
                </a:moveTo>
                <a:cubicBezTo>
                  <a:pt x="378619" y="1443831"/>
                  <a:pt x="757238" y="1373187"/>
                  <a:pt x="1219200" y="1190625"/>
                </a:cubicBezTo>
                <a:cubicBezTo>
                  <a:pt x="1681162" y="1008063"/>
                  <a:pt x="2420938" y="617537"/>
                  <a:pt x="2771775" y="419100"/>
                </a:cubicBezTo>
                <a:cubicBezTo>
                  <a:pt x="3122612" y="220663"/>
                  <a:pt x="3223418" y="110331"/>
                  <a:pt x="3324225"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Textfeld 38"/>
          <p:cNvSpPr txBox="1"/>
          <p:nvPr/>
        </p:nvSpPr>
        <p:spPr>
          <a:xfrm>
            <a:off x="2115122" y="3788262"/>
            <a:ext cx="729367" cy="562846"/>
          </a:xfrm>
          <a:prstGeom prst="rect">
            <a:avLst/>
          </a:prstGeom>
          <a:noFill/>
        </p:spPr>
        <p:txBody>
          <a:bodyPr wrap="none" lIns="0" tIns="0" rIns="0" bIns="0" rtlCol="0" anchor="t" anchorCtr="0">
            <a:spAutoFit/>
          </a:bodyPr>
          <a:lstStyle/>
          <a:p>
            <a:pPr algn="l">
              <a:lnSpc>
                <a:spcPts val="2300"/>
              </a:lnSpc>
            </a:pPr>
            <a:r>
              <a:rPr lang="de-DE" sz="1600" b="1" dirty="0" smtClean="0">
                <a:solidFill>
                  <a:srgbClr val="00B1EA"/>
                </a:solidFill>
              </a:rPr>
              <a:t>D film </a:t>
            </a:r>
          </a:p>
          <a:p>
            <a:pPr algn="l">
              <a:lnSpc>
                <a:spcPts val="2300"/>
              </a:lnSpc>
            </a:pPr>
            <a:r>
              <a:rPr lang="de-DE" sz="1600" b="1" dirty="0" err="1" smtClean="0">
                <a:solidFill>
                  <a:srgbClr val="00B1EA"/>
                </a:solidFill>
              </a:rPr>
              <a:t>cooling</a:t>
            </a:r>
            <a:endParaRPr lang="de-DE" sz="1600" b="1" dirty="0" smtClean="0">
              <a:solidFill>
                <a:srgbClr val="00B1EA"/>
              </a:solidFill>
            </a:endParaRPr>
          </a:p>
        </p:txBody>
      </p:sp>
      <p:sp>
        <p:nvSpPr>
          <p:cNvPr id="40" name="Ellipse 39"/>
          <p:cNvSpPr/>
          <p:nvPr/>
        </p:nvSpPr>
        <p:spPr>
          <a:xfrm rot="3912935">
            <a:off x="1837613" y="2934935"/>
            <a:ext cx="1535523" cy="386605"/>
          </a:xfrm>
          <a:prstGeom prst="ellipse">
            <a:avLst/>
          </a:prstGeom>
          <a:solidFill>
            <a:srgbClr val="C0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Ionization</a:t>
            </a:r>
            <a:endParaRPr lang="de-DE" sz="1300" b="1" dirty="0" smtClean="0">
              <a:solidFill>
                <a:schemeClr val="bg1"/>
              </a:solidFill>
            </a:endParaRPr>
          </a:p>
        </p:txBody>
      </p:sp>
      <p:sp>
        <p:nvSpPr>
          <p:cNvPr id="41" name="Ellipse 40"/>
          <p:cNvSpPr/>
          <p:nvPr/>
        </p:nvSpPr>
        <p:spPr>
          <a:xfrm rot="1798739">
            <a:off x="2580354" y="3865742"/>
            <a:ext cx="1976655" cy="514207"/>
          </a:xfrm>
          <a:prstGeom prst="ellipse">
            <a:avLst/>
          </a:prstGeom>
          <a:solidFill>
            <a:srgbClr val="00B1EA">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100" b="1" dirty="0" err="1" smtClean="0">
                <a:solidFill>
                  <a:schemeClr val="bg1"/>
                </a:solidFill>
              </a:rPr>
              <a:t>Recombination</a:t>
            </a:r>
            <a:endParaRPr lang="de-DE" sz="1100" b="1" dirty="0" smtClean="0">
              <a:solidFill>
                <a:schemeClr val="bg1"/>
              </a:solidFill>
            </a:endParaRPr>
          </a:p>
        </p:txBody>
      </p:sp>
      <p:sp>
        <p:nvSpPr>
          <p:cNvPr id="34" name="Träne 33"/>
          <p:cNvSpPr/>
          <p:nvPr/>
        </p:nvSpPr>
        <p:spPr>
          <a:xfrm rot="11591587">
            <a:off x="2580071" y="3471353"/>
            <a:ext cx="180000" cy="180000"/>
          </a:xfrm>
          <a:prstGeom prst="teardrop">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Träne 34"/>
          <p:cNvSpPr/>
          <p:nvPr/>
        </p:nvSpPr>
        <p:spPr>
          <a:xfrm rot="516321">
            <a:off x="2767858" y="3400739"/>
            <a:ext cx="180000" cy="180000"/>
          </a:xfrm>
          <a:prstGeom prst="teardrop">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0954609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Summary </a:t>
            </a:r>
            <a:r>
              <a:rPr lang="de-DE" dirty="0"/>
              <a:t/>
            </a:r>
            <a:br>
              <a:rPr lang="de-DE" dirty="0"/>
            </a:br>
            <a:r>
              <a:rPr lang="de-DE" dirty="0" err="1"/>
              <a:t>Ionization</a:t>
            </a:r>
            <a:r>
              <a:rPr lang="de-DE" dirty="0"/>
              <a:t> front </a:t>
            </a:r>
            <a:r>
              <a:rPr lang="de-DE" dirty="0" err="1"/>
              <a:t>control</a:t>
            </a:r>
            <a:r>
              <a:rPr lang="de-DE" dirty="0"/>
              <a:t> </a:t>
            </a:r>
            <a:r>
              <a:rPr lang="de-DE" dirty="0" err="1"/>
              <a:t>by</a:t>
            </a:r>
            <a:r>
              <a:rPr lang="de-DE" dirty="0"/>
              <a:t> D </a:t>
            </a:r>
            <a:r>
              <a:rPr lang="de-DE" dirty="0" err="1"/>
              <a:t>fueling</a:t>
            </a:r>
            <a:r>
              <a:rPr lang="de-DE" dirty="0"/>
              <a:t> </a:t>
            </a:r>
            <a:r>
              <a:rPr lang="de-DE" dirty="0" err="1"/>
              <a:t>feedback</a:t>
            </a:r>
            <a:r>
              <a:rPr lang="de-DE" dirty="0"/>
              <a:t> on Langmuir</a:t>
            </a:r>
            <a:endParaRPr lang="de-DE" sz="2000"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11</a:t>
            </a:fld>
            <a:endParaRPr lang="de-DE" dirty="0"/>
          </a:p>
        </p:txBody>
      </p:sp>
      <p:pic>
        <p:nvPicPr>
          <p:cNvPr id="6" name="Grafik 5"/>
          <p:cNvPicPr>
            <a:picLocks noChangeAspect="1"/>
          </p:cNvPicPr>
          <p:nvPr/>
        </p:nvPicPr>
        <p:blipFill rotWithShape="1">
          <a:blip r:embed="rId3">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0" name="Gerader Verbinder 9"/>
          <p:cNvCxnSpPr/>
          <p:nvPr/>
        </p:nvCxnSpPr>
        <p:spPr>
          <a:xfrm>
            <a:off x="4873841" y="4793942"/>
            <a:ext cx="0" cy="1695757"/>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303146" y="4793942"/>
            <a:ext cx="1480" cy="1561174"/>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ihandform 10"/>
          <p:cNvSpPr/>
          <p:nvPr/>
        </p:nvSpPr>
        <p:spPr>
          <a:xfrm>
            <a:off x="6303146" y="3932808"/>
            <a:ext cx="5903650" cy="2379215"/>
          </a:xfrm>
          <a:custGeom>
            <a:avLst/>
            <a:gdLst>
              <a:gd name="connsiteX0" fmla="*/ 0 w 5903650"/>
              <a:gd name="connsiteY0" fmla="*/ 2379215 h 2379215"/>
              <a:gd name="connsiteX1" fmla="*/ 1207363 w 5903650"/>
              <a:gd name="connsiteY1" fmla="*/ 2166151 h 2379215"/>
              <a:gd name="connsiteX2" fmla="*/ 3080551 w 5903650"/>
              <a:gd name="connsiteY2" fmla="*/ 1642369 h 2379215"/>
              <a:gd name="connsiteX3" fmla="*/ 4793941 w 5903650"/>
              <a:gd name="connsiteY3" fmla="*/ 798990 h 2379215"/>
              <a:gd name="connsiteX4" fmla="*/ 5903650 w 5903650"/>
              <a:gd name="connsiteY4" fmla="*/ 0 h 2379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3650" h="2379215">
                <a:moveTo>
                  <a:pt x="0" y="2379215"/>
                </a:moveTo>
                <a:cubicBezTo>
                  <a:pt x="346969" y="2334087"/>
                  <a:pt x="693938" y="2288959"/>
                  <a:pt x="1207363" y="2166151"/>
                </a:cubicBezTo>
                <a:cubicBezTo>
                  <a:pt x="1720788" y="2043343"/>
                  <a:pt x="2482788" y="1870229"/>
                  <a:pt x="3080551" y="1642369"/>
                </a:cubicBezTo>
                <a:cubicBezTo>
                  <a:pt x="3678314" y="1414509"/>
                  <a:pt x="4323425" y="1072718"/>
                  <a:pt x="4793941" y="798990"/>
                </a:cubicBezTo>
                <a:cubicBezTo>
                  <a:pt x="5264457" y="525262"/>
                  <a:pt x="5584053" y="262631"/>
                  <a:pt x="590365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19"/>
          <p:cNvSpPr/>
          <p:nvPr/>
        </p:nvSpPr>
        <p:spPr>
          <a:xfrm>
            <a:off x="8878" y="4864963"/>
            <a:ext cx="4847207" cy="1618657"/>
          </a:xfrm>
          <a:custGeom>
            <a:avLst/>
            <a:gdLst>
              <a:gd name="connsiteX0" fmla="*/ 4847207 w 4847207"/>
              <a:gd name="connsiteY0" fmla="*/ 1597981 h 1618657"/>
              <a:gd name="connsiteX1" fmla="*/ 3835153 w 4847207"/>
              <a:gd name="connsiteY1" fmla="*/ 1589103 h 1618657"/>
              <a:gd name="connsiteX2" fmla="*/ 2219417 w 4847207"/>
              <a:gd name="connsiteY2" fmla="*/ 1313895 h 1618657"/>
              <a:gd name="connsiteX3" fmla="*/ 1074198 w 4847207"/>
              <a:gd name="connsiteY3" fmla="*/ 825623 h 1618657"/>
              <a:gd name="connsiteX4" fmla="*/ 0 w 4847207"/>
              <a:gd name="connsiteY4" fmla="*/ 0 h 16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207" h="1618657">
                <a:moveTo>
                  <a:pt x="4847207" y="1597981"/>
                </a:moveTo>
                <a:cubicBezTo>
                  <a:pt x="4560162" y="1617216"/>
                  <a:pt x="4273118" y="1636451"/>
                  <a:pt x="3835153" y="1589103"/>
                </a:cubicBezTo>
                <a:cubicBezTo>
                  <a:pt x="3397188" y="1541755"/>
                  <a:pt x="2679576" y="1441142"/>
                  <a:pt x="2219417" y="1313895"/>
                </a:cubicBezTo>
                <a:cubicBezTo>
                  <a:pt x="1759258" y="1186648"/>
                  <a:pt x="1444101" y="1044605"/>
                  <a:pt x="1074198" y="825623"/>
                </a:cubicBezTo>
                <a:cubicBezTo>
                  <a:pt x="704295" y="606641"/>
                  <a:pt x="352147" y="303320"/>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p:cNvSpPr/>
          <p:nvPr/>
        </p:nvSpPr>
        <p:spPr>
          <a:xfrm>
            <a:off x="4915559" y="5457877"/>
            <a:ext cx="562554"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 d</a:t>
            </a:r>
            <a:endParaRPr lang="de-DE" sz="1300" b="1" dirty="0" smtClean="0"/>
          </a:p>
        </p:txBody>
      </p:sp>
      <p:sp>
        <p:nvSpPr>
          <p:cNvPr id="24" name="Rechteck 23"/>
          <p:cNvSpPr/>
          <p:nvPr/>
        </p:nvSpPr>
        <p:spPr>
          <a:xfrm>
            <a:off x="5696791" y="5432724"/>
            <a:ext cx="596619"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d</a:t>
            </a:r>
          </a:p>
        </p:txBody>
      </p:sp>
      <mc:AlternateContent xmlns:mc="http://schemas.openxmlformats.org/markup-compatibility/2006">
        <mc:Choice xmlns:a14="http://schemas.microsoft.com/office/drawing/2010/main" Requires="a14">
          <p:sp>
            <p:nvSpPr>
              <p:cNvPr id="25" name="Textfeld 24"/>
              <p:cNvSpPr txBox="1"/>
              <p:nvPr/>
            </p:nvSpPr>
            <p:spPr>
              <a:xfrm>
                <a:off x="6475195" y="5574927"/>
                <a:ext cx="87434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b="1" i="1" smtClean="0">
                          <a:solidFill>
                            <a:schemeClr val="tx1"/>
                          </a:solidFill>
                          <a:latin typeface="Cambria Math" panose="02040503050406030204" pitchFamily="18" charset="0"/>
                        </a:rPr>
                        <m:t>𝑲𝒏</m:t>
                      </m:r>
                      <m:r>
                        <a:rPr lang="de-DE" sz="1600" b="1" i="1" smtClean="0">
                          <a:solidFill>
                            <a:schemeClr val="tx1"/>
                          </a:solidFill>
                          <a:latin typeface="Cambria Math" panose="02040503050406030204" pitchFamily="18" charset="0"/>
                        </a:rPr>
                        <m:t>= </m:t>
                      </m:r>
                      <m:f>
                        <m:fPr>
                          <m:ctrlPr>
                            <a:rPr lang="de-DE" sz="1600" b="1" i="1">
                              <a:solidFill>
                                <a:schemeClr val="tx1"/>
                              </a:solidFill>
                              <a:latin typeface="Cambria Math" panose="02040503050406030204" pitchFamily="18" charset="0"/>
                            </a:rPr>
                          </m:ctrlPr>
                        </m:fPr>
                        <m:num>
                          <m:sSub>
                            <m:sSubPr>
                              <m:ctrlPr>
                                <a:rPr lang="de-DE" sz="1600" b="1" i="1" smtClean="0">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𝝀</m:t>
                              </m:r>
                            </m:e>
                            <m:sub>
                              <m:r>
                                <a:rPr lang="de-DE" sz="1600" b="1" i="1" smtClean="0">
                                  <a:solidFill>
                                    <a:schemeClr val="tx1"/>
                                  </a:solidFill>
                                  <a:latin typeface="Cambria Math" panose="02040503050406030204" pitchFamily="18" charset="0"/>
                                </a:rPr>
                                <m:t>𝟎</m:t>
                              </m:r>
                            </m:sub>
                          </m:sSub>
                        </m:num>
                        <m:den>
                          <m:r>
                            <a:rPr lang="de-DE" sz="1600" b="1" i="1">
                              <a:solidFill>
                                <a:schemeClr val="tx1"/>
                              </a:solidFill>
                              <a:latin typeface="Cambria Math" panose="02040503050406030204" pitchFamily="18" charset="0"/>
                            </a:rPr>
                            <m:t>𝒅</m:t>
                          </m:r>
                        </m:den>
                      </m:f>
                    </m:oMath>
                  </m:oMathPara>
                </a14:m>
                <a:endParaRPr lang="de-DE" sz="1600" b="1" dirty="0" err="1">
                  <a:solidFill>
                    <a:schemeClr val="tx1"/>
                  </a:solidFill>
                </a:endParaRPr>
              </a:p>
            </p:txBody>
          </p:sp>
        </mc:Choice>
        <mc:Fallback>
          <p:sp>
            <p:nvSpPr>
              <p:cNvPr id="25" name="Textfeld 24"/>
              <p:cNvSpPr txBox="1">
                <a:spLocks noRot="1" noChangeAspect="1" noMove="1" noResize="1" noEditPoints="1" noAdjustHandles="1" noChangeArrowheads="1" noChangeShapeType="1" noTextEdit="1"/>
              </p:cNvSpPr>
              <p:nvPr/>
            </p:nvSpPr>
            <p:spPr>
              <a:xfrm>
                <a:off x="6475195" y="5574927"/>
                <a:ext cx="874342" cy="294953"/>
              </a:xfrm>
              <a:prstGeom prst="rect">
                <a:avLst/>
              </a:prstGeom>
              <a:blipFill>
                <a:blip r:embed="rId4"/>
                <a:stretch>
                  <a:fillRect l="-4167" t="-47917" r="-694" b="-37500"/>
                </a:stretch>
              </a:blipFill>
            </p:spPr>
            <p:txBody>
              <a:bodyPr/>
              <a:lstStyle/>
              <a:p>
                <a:r>
                  <a:rPr lang="de-DE">
                    <a:noFill/>
                  </a:rPr>
                  <a:t> </a:t>
                </a:r>
              </a:p>
            </p:txBody>
          </p:sp>
        </mc:Fallback>
      </mc:AlternateContent>
      <p:cxnSp>
        <p:nvCxnSpPr>
          <p:cNvPr id="26" name="Gerade Verbindung mit Pfeil 25"/>
          <p:cNvCxnSpPr>
            <a:stCxn id="23" idx="1"/>
            <a:endCxn id="23" idx="3"/>
          </p:cNvCxnSpPr>
          <p:nvPr/>
        </p:nvCxnSpPr>
        <p:spPr>
          <a:xfrm>
            <a:off x="4915559" y="5830137"/>
            <a:ext cx="562554"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5728339" y="5811924"/>
            <a:ext cx="556193"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Inhaltsplatzhalter 11"/>
          <p:cNvPicPr>
            <a:picLocks noGrp="1" noChangeAspect="1"/>
          </p:cNvPicPr>
          <p:nvPr>
            <p:ph sz="quarter" idx="13"/>
          </p:nvPr>
        </p:nvPicPr>
        <p:blipFill rotWithShape="1">
          <a:blip r:embed="rId5">
            <a:extLst>
              <a:ext uri="{28A0092B-C50C-407E-A947-70E740481C1C}">
                <a14:useLocalDpi xmlns:a14="http://schemas.microsoft.com/office/drawing/2010/main" val="0"/>
              </a:ext>
            </a:extLst>
          </a:blip>
          <a:srcRect l="8195" t="3489" r="57083" b="79980"/>
          <a:stretch/>
        </p:blipFill>
        <p:spPr>
          <a:xfrm rot="5400000">
            <a:off x="4016136" y="5713396"/>
            <a:ext cx="2383045" cy="581463"/>
          </a:xfrm>
        </p:spPr>
      </p:pic>
      <p:sp>
        <p:nvSpPr>
          <p:cNvPr id="28" name="Rechteck 27"/>
          <p:cNvSpPr/>
          <p:nvPr/>
        </p:nvSpPr>
        <p:spPr>
          <a:xfrm rot="1710701">
            <a:off x="2374819" y="3115513"/>
            <a:ext cx="335649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Rechteck 28"/>
          <p:cNvSpPr/>
          <p:nvPr/>
        </p:nvSpPr>
        <p:spPr>
          <a:xfrm rot="20324212">
            <a:off x="5489393" y="3042009"/>
            <a:ext cx="486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Rechteck 29"/>
          <p:cNvSpPr/>
          <p:nvPr/>
        </p:nvSpPr>
        <p:spPr>
          <a:xfrm rot="3992824">
            <a:off x="2284957" y="2844552"/>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Rechteck 30"/>
          <p:cNvSpPr/>
          <p:nvPr/>
        </p:nvSpPr>
        <p:spPr>
          <a:xfrm rot="3992824">
            <a:off x="1723016" y="306175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Rechteck 31"/>
          <p:cNvSpPr/>
          <p:nvPr/>
        </p:nvSpPr>
        <p:spPr>
          <a:xfrm rot="19214977">
            <a:off x="9218395" y="2485731"/>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Rechteck 32"/>
          <p:cNvSpPr/>
          <p:nvPr/>
        </p:nvSpPr>
        <p:spPr>
          <a:xfrm rot="19214977">
            <a:off x="9560482" y="287626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 name="Gerade Verbindung mit Pfeil 6"/>
          <p:cNvCxnSpPr/>
          <p:nvPr/>
        </p:nvCxnSpPr>
        <p:spPr>
          <a:xfrm>
            <a:off x="1866900" y="2724150"/>
            <a:ext cx="419100" cy="1019175"/>
          </a:xfrm>
          <a:prstGeom prst="straightConnector1">
            <a:avLst/>
          </a:prstGeom>
          <a:ln w="19050" cmpd="sng">
            <a:solidFill>
              <a:schemeClr val="tx1"/>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3" name="Rechteck 12"/>
              <p:cNvSpPr/>
              <p:nvPr/>
            </p:nvSpPr>
            <p:spPr>
              <a:xfrm>
                <a:off x="1233952" y="2814910"/>
                <a:ext cx="790536" cy="923330"/>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smtClean="0">
                              <a:solidFill>
                                <a:schemeClr val="tx1"/>
                              </a:solidFill>
                              <a:latin typeface="Cambria Math" panose="02040503050406030204" pitchFamily="18" charset="0"/>
                            </a:rPr>
                          </m:ctrlPr>
                        </m:sSubPr>
                        <m:e>
                          <m:r>
                            <m:rPr>
                              <m:sty m:val="p"/>
                            </m:rPr>
                            <a:rPr lang="el-GR" i="1">
                              <a:solidFill>
                                <a:schemeClr val="tx1"/>
                              </a:solidFill>
                              <a:latin typeface="Cambria Math" panose="02040503050406030204" pitchFamily="18" charset="0"/>
                            </a:rPr>
                            <m:t>λ</m:t>
                          </m:r>
                        </m:e>
                        <m:sub>
                          <m:r>
                            <a:rPr lang="de-DE" b="1" i="1">
                              <a:solidFill>
                                <a:schemeClr val="tx1"/>
                              </a:solidFill>
                              <a:latin typeface="Cambria Math" panose="02040503050406030204" pitchFamily="18" charset="0"/>
                            </a:rPr>
                            <m:t>𝟎</m:t>
                          </m:r>
                        </m:sub>
                      </m:sSub>
                    </m:oMath>
                  </m:oMathPara>
                </a14:m>
                <a:endParaRPr lang="de-DE" dirty="0" smtClean="0"/>
              </a:p>
              <a:p>
                <a:pPr algn="ctr"/>
                <a:r>
                  <a:rPr lang="de-DE" dirty="0" err="1" smtClean="0"/>
                  <a:t>or</a:t>
                </a:r>
                <a:endParaRPr lang="de-DE" dirty="0" smtClean="0"/>
              </a:p>
              <a:p>
                <a:pPr algn="ctr"/>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a:latin typeface="Cambria Math" panose="02040503050406030204" pitchFamily="18" charset="0"/>
                            </a:rPr>
                          </m:ctrlPr>
                        </m:sSubPr>
                        <m:e>
                          <m:r>
                            <m:rPr>
                              <m:sty m:val="p"/>
                            </m:rPr>
                            <a:rPr lang="el-GR" i="1">
                              <a:latin typeface="Cambria Math" panose="02040503050406030204" pitchFamily="18" charset="0"/>
                            </a:rPr>
                            <m:t>λ</m:t>
                          </m:r>
                        </m:e>
                        <m:sub>
                          <m:r>
                            <a:rPr lang="de-DE" b="1" i="1">
                              <a:latin typeface="Cambria Math" panose="02040503050406030204" pitchFamily="18" charset="0"/>
                            </a:rPr>
                            <m:t>𝒊𝒛</m:t>
                          </m:r>
                        </m:sub>
                      </m:sSub>
                    </m:oMath>
                  </m:oMathPara>
                </a14:m>
                <a:endParaRPr lang="de-DE" dirty="0"/>
              </a:p>
            </p:txBody>
          </p:sp>
        </mc:Choice>
        <mc:Fallback>
          <p:sp>
            <p:nvSpPr>
              <p:cNvPr id="13" name="Rechteck 12"/>
              <p:cNvSpPr>
                <a:spLocks noRot="1" noChangeAspect="1" noMove="1" noResize="1" noEditPoints="1" noAdjustHandles="1" noChangeArrowheads="1" noChangeShapeType="1" noTextEdit="1"/>
              </p:cNvSpPr>
              <p:nvPr/>
            </p:nvSpPr>
            <p:spPr>
              <a:xfrm>
                <a:off x="1233952" y="2814910"/>
                <a:ext cx="790536" cy="923330"/>
              </a:xfrm>
              <a:prstGeom prst="rect">
                <a:avLst/>
              </a:prstGeom>
              <a:blipFill>
                <a:blip r:embed="rId6"/>
                <a:stretch>
                  <a:fillRect/>
                </a:stretch>
              </a:blipFill>
            </p:spPr>
            <p:txBody>
              <a:bodyPr/>
              <a:lstStyle/>
              <a:p>
                <a:r>
                  <a:rPr lang="de-DE">
                    <a:noFill/>
                  </a:rPr>
                  <a:t> </a:t>
                </a:r>
              </a:p>
            </p:txBody>
          </p:sp>
        </mc:Fallback>
      </mc:AlternateContent>
      <p:sp>
        <p:nvSpPr>
          <p:cNvPr id="37" name="Freihandform 36"/>
          <p:cNvSpPr/>
          <p:nvPr/>
        </p:nvSpPr>
        <p:spPr>
          <a:xfrm>
            <a:off x="2533650" y="3629025"/>
            <a:ext cx="2343150" cy="1219200"/>
          </a:xfrm>
          <a:custGeom>
            <a:avLst/>
            <a:gdLst>
              <a:gd name="connsiteX0" fmla="*/ 2343150 w 2343150"/>
              <a:gd name="connsiteY0" fmla="*/ 1219200 h 1219200"/>
              <a:gd name="connsiteX1" fmla="*/ 1428750 w 2343150"/>
              <a:gd name="connsiteY1" fmla="*/ 1038225 h 1219200"/>
              <a:gd name="connsiteX2" fmla="*/ 561975 w 2343150"/>
              <a:gd name="connsiteY2" fmla="*/ 628650 h 1219200"/>
              <a:gd name="connsiteX3" fmla="*/ 0 w 2343150"/>
              <a:gd name="connsiteY3" fmla="*/ 0 h 1219200"/>
            </a:gdLst>
            <a:ahLst/>
            <a:cxnLst>
              <a:cxn ang="0">
                <a:pos x="connsiteX0" y="connsiteY0"/>
              </a:cxn>
              <a:cxn ang="0">
                <a:pos x="connsiteX1" y="connsiteY1"/>
              </a:cxn>
              <a:cxn ang="0">
                <a:pos x="connsiteX2" y="connsiteY2"/>
              </a:cxn>
              <a:cxn ang="0">
                <a:pos x="connsiteX3" y="connsiteY3"/>
              </a:cxn>
            </a:cxnLst>
            <a:rect l="l" t="t" r="r" b="b"/>
            <a:pathLst>
              <a:path w="2343150" h="1219200">
                <a:moveTo>
                  <a:pt x="2343150" y="1219200"/>
                </a:moveTo>
                <a:cubicBezTo>
                  <a:pt x="2034381" y="1177925"/>
                  <a:pt x="1725612" y="1136650"/>
                  <a:pt x="1428750" y="1038225"/>
                </a:cubicBezTo>
                <a:cubicBezTo>
                  <a:pt x="1131887" y="939800"/>
                  <a:pt x="800100" y="801687"/>
                  <a:pt x="561975" y="628650"/>
                </a:cubicBezTo>
                <a:cubicBezTo>
                  <a:pt x="323850" y="455612"/>
                  <a:pt x="161925" y="227806"/>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ihandform 37"/>
          <p:cNvSpPr/>
          <p:nvPr/>
        </p:nvSpPr>
        <p:spPr>
          <a:xfrm>
            <a:off x="6305550" y="3267075"/>
            <a:ext cx="3324225" cy="1514475"/>
          </a:xfrm>
          <a:custGeom>
            <a:avLst/>
            <a:gdLst>
              <a:gd name="connsiteX0" fmla="*/ 0 w 3324225"/>
              <a:gd name="connsiteY0" fmla="*/ 1514475 h 1514475"/>
              <a:gd name="connsiteX1" fmla="*/ 1219200 w 3324225"/>
              <a:gd name="connsiteY1" fmla="*/ 1190625 h 1514475"/>
              <a:gd name="connsiteX2" fmla="*/ 2771775 w 3324225"/>
              <a:gd name="connsiteY2" fmla="*/ 419100 h 1514475"/>
              <a:gd name="connsiteX3" fmla="*/ 3324225 w 3324225"/>
              <a:gd name="connsiteY3" fmla="*/ 0 h 1514475"/>
            </a:gdLst>
            <a:ahLst/>
            <a:cxnLst>
              <a:cxn ang="0">
                <a:pos x="connsiteX0" y="connsiteY0"/>
              </a:cxn>
              <a:cxn ang="0">
                <a:pos x="connsiteX1" y="connsiteY1"/>
              </a:cxn>
              <a:cxn ang="0">
                <a:pos x="connsiteX2" y="connsiteY2"/>
              </a:cxn>
              <a:cxn ang="0">
                <a:pos x="connsiteX3" y="connsiteY3"/>
              </a:cxn>
            </a:cxnLst>
            <a:rect l="l" t="t" r="r" b="b"/>
            <a:pathLst>
              <a:path w="3324225" h="1514475">
                <a:moveTo>
                  <a:pt x="0" y="1514475"/>
                </a:moveTo>
                <a:cubicBezTo>
                  <a:pt x="378619" y="1443831"/>
                  <a:pt x="757238" y="1373187"/>
                  <a:pt x="1219200" y="1190625"/>
                </a:cubicBezTo>
                <a:cubicBezTo>
                  <a:pt x="1681162" y="1008063"/>
                  <a:pt x="2420938" y="617537"/>
                  <a:pt x="2771775" y="419100"/>
                </a:cubicBezTo>
                <a:cubicBezTo>
                  <a:pt x="3122612" y="220663"/>
                  <a:pt x="3223418" y="110331"/>
                  <a:pt x="3324225"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Textfeld 38"/>
          <p:cNvSpPr txBox="1"/>
          <p:nvPr/>
        </p:nvSpPr>
        <p:spPr>
          <a:xfrm>
            <a:off x="2115122" y="3788262"/>
            <a:ext cx="729367" cy="562846"/>
          </a:xfrm>
          <a:prstGeom prst="rect">
            <a:avLst/>
          </a:prstGeom>
          <a:noFill/>
        </p:spPr>
        <p:txBody>
          <a:bodyPr wrap="none" lIns="0" tIns="0" rIns="0" bIns="0" rtlCol="0" anchor="t" anchorCtr="0">
            <a:spAutoFit/>
          </a:bodyPr>
          <a:lstStyle/>
          <a:p>
            <a:pPr algn="l">
              <a:lnSpc>
                <a:spcPts val="2300"/>
              </a:lnSpc>
            </a:pPr>
            <a:r>
              <a:rPr lang="de-DE" sz="1600" b="1" dirty="0" smtClean="0">
                <a:solidFill>
                  <a:srgbClr val="00B1EA"/>
                </a:solidFill>
              </a:rPr>
              <a:t>D film </a:t>
            </a:r>
          </a:p>
          <a:p>
            <a:pPr algn="l">
              <a:lnSpc>
                <a:spcPts val="2300"/>
              </a:lnSpc>
            </a:pPr>
            <a:r>
              <a:rPr lang="de-DE" sz="1600" b="1" dirty="0" err="1" smtClean="0">
                <a:solidFill>
                  <a:srgbClr val="00B1EA"/>
                </a:solidFill>
              </a:rPr>
              <a:t>cooling</a:t>
            </a:r>
            <a:endParaRPr lang="de-DE" sz="1600" b="1" dirty="0" smtClean="0">
              <a:solidFill>
                <a:srgbClr val="00B1EA"/>
              </a:solidFill>
            </a:endParaRPr>
          </a:p>
        </p:txBody>
      </p:sp>
      <p:sp>
        <p:nvSpPr>
          <p:cNvPr id="40" name="Ellipse 39"/>
          <p:cNvSpPr/>
          <p:nvPr/>
        </p:nvSpPr>
        <p:spPr>
          <a:xfrm rot="3912935">
            <a:off x="1837613" y="2934935"/>
            <a:ext cx="1535523" cy="386605"/>
          </a:xfrm>
          <a:prstGeom prst="ellipse">
            <a:avLst/>
          </a:prstGeom>
          <a:solidFill>
            <a:srgbClr val="C0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Ionization</a:t>
            </a:r>
            <a:endParaRPr lang="de-DE" sz="1300" b="1" dirty="0" smtClean="0">
              <a:solidFill>
                <a:schemeClr val="bg1"/>
              </a:solidFill>
            </a:endParaRPr>
          </a:p>
        </p:txBody>
      </p:sp>
      <p:sp>
        <p:nvSpPr>
          <p:cNvPr id="41" name="Ellipse 40"/>
          <p:cNvSpPr/>
          <p:nvPr/>
        </p:nvSpPr>
        <p:spPr>
          <a:xfrm rot="1798739">
            <a:off x="2580354" y="3865742"/>
            <a:ext cx="1976655" cy="514207"/>
          </a:xfrm>
          <a:prstGeom prst="ellipse">
            <a:avLst/>
          </a:prstGeom>
          <a:solidFill>
            <a:srgbClr val="00B1EA">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100" b="1" dirty="0" err="1" smtClean="0">
                <a:solidFill>
                  <a:schemeClr val="bg1"/>
                </a:solidFill>
              </a:rPr>
              <a:t>Recombination</a:t>
            </a:r>
            <a:endParaRPr lang="de-DE" sz="1100" b="1" dirty="0" smtClean="0">
              <a:solidFill>
                <a:schemeClr val="bg1"/>
              </a:solidFill>
            </a:endParaRPr>
          </a:p>
        </p:txBody>
      </p:sp>
      <p:sp>
        <p:nvSpPr>
          <p:cNvPr id="34" name="Träne 33"/>
          <p:cNvSpPr/>
          <p:nvPr/>
        </p:nvSpPr>
        <p:spPr>
          <a:xfrm rot="11591587">
            <a:off x="2580071" y="3471353"/>
            <a:ext cx="180000" cy="180000"/>
          </a:xfrm>
          <a:prstGeom prst="teardrop">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Träne 34"/>
          <p:cNvSpPr/>
          <p:nvPr/>
        </p:nvSpPr>
        <p:spPr>
          <a:xfrm rot="516321">
            <a:off x="2767858" y="3400739"/>
            <a:ext cx="180000" cy="180000"/>
          </a:xfrm>
          <a:prstGeom prst="teardrop">
            <a:avLst/>
          </a:prstGeom>
          <a:solidFill>
            <a:srgbClr val="00B1EA"/>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Textfeld 41"/>
          <p:cNvSpPr txBox="1"/>
          <p:nvPr/>
        </p:nvSpPr>
        <p:spPr>
          <a:xfrm>
            <a:off x="4915559" y="1358175"/>
            <a:ext cx="2985113" cy="716735"/>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No</a:t>
            </a:r>
            <a:r>
              <a:rPr lang="de-DE" sz="1600" dirty="0" smtClean="0"/>
              <a:t> </a:t>
            </a:r>
            <a:r>
              <a:rPr lang="de-DE" sz="1600" dirty="0" err="1" smtClean="0"/>
              <a:t>impurity</a:t>
            </a:r>
            <a:r>
              <a:rPr lang="de-DE" sz="1600" dirty="0" smtClean="0"/>
              <a:t> </a:t>
            </a:r>
            <a:r>
              <a:rPr lang="de-DE" sz="1600" dirty="0" err="1" smtClean="0"/>
              <a:t>seeding</a:t>
            </a:r>
            <a:r>
              <a:rPr lang="de-DE" sz="1600" dirty="0" smtClean="0"/>
              <a:t> </a:t>
            </a:r>
            <a:r>
              <a:rPr lang="de-DE" sz="1600" dirty="0" err="1" smtClean="0"/>
              <a:t>necessary</a:t>
            </a:r>
            <a:endParaRPr lang="de-DE" sz="1600" dirty="0" smtClean="0"/>
          </a:p>
          <a:p>
            <a:pPr marL="180000" indent="-180000">
              <a:lnSpc>
                <a:spcPts val="2300"/>
              </a:lnSpc>
              <a:spcBef>
                <a:spcPts val="1150"/>
              </a:spcBef>
              <a:buFont typeface="Arial" panose="020B0604020202020204" pitchFamily="34" charset="0"/>
              <a:buChar char="•"/>
            </a:pPr>
            <a:r>
              <a:rPr lang="de-DE" sz="1600" dirty="0" err="1"/>
              <a:t>No</a:t>
            </a:r>
            <a:r>
              <a:rPr lang="de-DE" sz="1600" dirty="0"/>
              <a:t> </a:t>
            </a:r>
            <a:r>
              <a:rPr lang="de-DE" sz="1600" dirty="0" err="1"/>
              <a:t>sputtering</a:t>
            </a:r>
            <a:r>
              <a:rPr lang="de-DE" sz="1600" dirty="0"/>
              <a:t> </a:t>
            </a:r>
            <a:r>
              <a:rPr lang="de-DE" sz="1600" dirty="0" err="1"/>
              <a:t>by</a:t>
            </a:r>
            <a:r>
              <a:rPr lang="de-DE" sz="1600" dirty="0"/>
              <a:t> </a:t>
            </a:r>
            <a:r>
              <a:rPr lang="de-DE" sz="1600" dirty="0" err="1"/>
              <a:t>T</a:t>
            </a:r>
            <a:r>
              <a:rPr lang="de-DE" sz="1600" baseline="-25000" dirty="0" err="1"/>
              <a:t>e</a:t>
            </a:r>
            <a:r>
              <a:rPr lang="de-DE" sz="1600" dirty="0"/>
              <a:t> </a:t>
            </a:r>
            <a:r>
              <a:rPr lang="de-DE" sz="1600" dirty="0" err="1" smtClean="0"/>
              <a:t>control</a:t>
            </a:r>
            <a:endParaRPr lang="de-DE" sz="1600" dirty="0"/>
          </a:p>
        </p:txBody>
      </p:sp>
      <p:cxnSp>
        <p:nvCxnSpPr>
          <p:cNvPr id="36" name="Gerader Verbinder 35"/>
          <p:cNvCxnSpPr/>
          <p:nvPr/>
        </p:nvCxnSpPr>
        <p:spPr>
          <a:xfrm flipH="1">
            <a:off x="5609654" y="4071877"/>
            <a:ext cx="0" cy="957898"/>
          </a:xfrm>
          <a:prstGeom prst="line">
            <a:avLst/>
          </a:prstGeom>
          <a:ln w="1905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feld 42"/>
          <p:cNvSpPr txBox="1"/>
          <p:nvPr/>
        </p:nvSpPr>
        <p:spPr>
          <a:xfrm>
            <a:off x="5168952" y="2107575"/>
            <a:ext cx="1720343" cy="29495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smtClean="0"/>
              <a:t>Langmuir </a:t>
            </a:r>
            <a:r>
              <a:rPr lang="de-DE" sz="1600" dirty="0" err="1" smtClean="0"/>
              <a:t>probes</a:t>
            </a:r>
            <a:endParaRPr lang="de-DE" sz="1600" dirty="0" smtClean="0"/>
          </a:p>
        </p:txBody>
      </p:sp>
      <p:cxnSp>
        <p:nvCxnSpPr>
          <p:cNvPr id="44" name="Gerade Verbindung mit Pfeil 43"/>
          <p:cNvCxnSpPr>
            <a:stCxn id="43" idx="1"/>
          </p:cNvCxnSpPr>
          <p:nvPr/>
        </p:nvCxnSpPr>
        <p:spPr>
          <a:xfrm>
            <a:off x="5168952" y="2255052"/>
            <a:ext cx="440702" cy="1850387"/>
          </a:xfrm>
          <a:prstGeom prst="straightConnector1">
            <a:avLst/>
          </a:prstGeom>
          <a:ln w="317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38324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pPr marL="342900" indent="-342900">
              <a:buFont typeface="+mj-lt"/>
              <a:buAutoNum type="arabicPeriod"/>
            </a:pPr>
            <a:r>
              <a:rPr lang="de-DE" sz="2800" dirty="0" err="1" smtClean="0"/>
              <a:t>Divert</a:t>
            </a:r>
            <a:r>
              <a:rPr lang="de-DE" sz="2800" dirty="0" smtClean="0"/>
              <a:t> </a:t>
            </a:r>
            <a:r>
              <a:rPr lang="de-DE" sz="2800" dirty="0" err="1" smtClean="0"/>
              <a:t>plasma</a:t>
            </a:r>
            <a:endParaRPr lang="de-DE" sz="2800" dirty="0" smtClean="0"/>
          </a:p>
          <a:p>
            <a:pPr marL="342900" indent="-342900">
              <a:buFont typeface="+mj-lt"/>
              <a:buAutoNum type="arabicPeriod"/>
            </a:pPr>
            <a:r>
              <a:rPr lang="de-DE" sz="2800" dirty="0" err="1" smtClean="0"/>
              <a:t>Neutralize</a:t>
            </a:r>
            <a:r>
              <a:rPr lang="de-DE" sz="2800" dirty="0" smtClean="0"/>
              <a:t> </a:t>
            </a:r>
            <a:r>
              <a:rPr lang="de-DE" sz="2800" dirty="0" err="1" smtClean="0"/>
              <a:t>plasma</a:t>
            </a:r>
            <a:endParaRPr lang="de-DE" sz="2800" dirty="0" smtClean="0"/>
          </a:p>
          <a:p>
            <a:pPr marL="342900" indent="-342900">
              <a:buFont typeface="+mj-lt"/>
              <a:buAutoNum type="arabicPeriod"/>
            </a:pPr>
            <a:r>
              <a:rPr lang="de-DE" sz="2800" dirty="0" err="1" smtClean="0"/>
              <a:t>Collect</a:t>
            </a:r>
            <a:r>
              <a:rPr lang="de-DE" sz="2800" dirty="0" smtClean="0"/>
              <a:t> neutral </a:t>
            </a:r>
            <a:r>
              <a:rPr lang="de-DE" sz="2800" dirty="0" err="1" smtClean="0"/>
              <a:t>particles</a:t>
            </a:r>
            <a:endParaRPr lang="de-DE" sz="2800" dirty="0" smtClean="0"/>
          </a:p>
          <a:p>
            <a:pPr marL="342900" indent="-342900">
              <a:buFont typeface="+mj-lt"/>
              <a:buAutoNum type="arabicPeriod"/>
            </a:pPr>
            <a:r>
              <a:rPr lang="de-DE" sz="2800" dirty="0" smtClean="0"/>
              <a:t>Remove neutral </a:t>
            </a:r>
            <a:r>
              <a:rPr lang="de-DE" sz="2800" dirty="0" err="1" smtClean="0"/>
              <a:t>particles</a:t>
            </a:r>
            <a:endParaRPr lang="de-DE" sz="2800" dirty="0" smtClean="0"/>
          </a:p>
          <a:p>
            <a:pPr marL="342900" indent="-342900">
              <a:buFont typeface="+mj-lt"/>
              <a:buAutoNum type="arabicPeriod"/>
            </a:pPr>
            <a:r>
              <a:rPr lang="de-DE" sz="2800" dirty="0" smtClean="0"/>
              <a:t>Plug neutral </a:t>
            </a:r>
            <a:r>
              <a:rPr lang="de-DE" sz="2800" dirty="0" err="1" smtClean="0"/>
              <a:t>particles</a:t>
            </a:r>
            <a:endParaRPr lang="de-DE" sz="2800" dirty="0" smtClean="0"/>
          </a:p>
          <a:p>
            <a:pPr marL="342900" indent="-342900">
              <a:buFont typeface="+mj-lt"/>
              <a:buAutoNum type="arabicPeriod"/>
            </a:pPr>
            <a:r>
              <a:rPr lang="de-DE" sz="2800" dirty="0" smtClean="0"/>
              <a:t>Screen </a:t>
            </a:r>
            <a:r>
              <a:rPr lang="de-DE" sz="2800" dirty="0" err="1" smtClean="0"/>
              <a:t>impurity</a:t>
            </a:r>
            <a:r>
              <a:rPr lang="de-DE" sz="2800" dirty="0" smtClean="0"/>
              <a:t> </a:t>
            </a:r>
            <a:r>
              <a:rPr lang="de-DE" sz="2800" dirty="0" err="1" smtClean="0"/>
              <a:t>particles</a:t>
            </a:r>
            <a:endParaRPr lang="de-DE" sz="2800" dirty="0" smtClean="0"/>
          </a:p>
          <a:p>
            <a:pPr marL="342900" indent="-342900">
              <a:buFont typeface="+mj-lt"/>
              <a:buAutoNum type="arabicPeriod"/>
            </a:pPr>
            <a:r>
              <a:rPr lang="de-DE" sz="2800" dirty="0" err="1" smtClean="0"/>
              <a:t>Survive</a:t>
            </a:r>
            <a:endParaRPr lang="de-DE" sz="2800" dirty="0"/>
          </a:p>
        </p:txBody>
      </p:sp>
      <p:sp>
        <p:nvSpPr>
          <p:cNvPr id="3" name="Titel 2"/>
          <p:cNvSpPr>
            <a:spLocks noGrp="1"/>
          </p:cNvSpPr>
          <p:nvPr>
            <p:ph type="title"/>
          </p:nvPr>
        </p:nvSpPr>
        <p:spPr/>
        <p:txBody>
          <a:bodyPr/>
          <a:lstStyle/>
          <a:p>
            <a:r>
              <a:rPr lang="de-DE" dirty="0" smtClean="0"/>
              <a:t>A priori </a:t>
            </a:r>
            <a:r>
              <a:rPr lang="de-DE" dirty="0" err="1" smtClean="0"/>
              <a:t>first</a:t>
            </a:r>
            <a:r>
              <a:rPr lang="de-DE" dirty="0" smtClean="0"/>
              <a:t> </a:t>
            </a:r>
            <a:r>
              <a:rPr lang="de-DE" dirty="0" err="1" smtClean="0"/>
              <a:t>principles</a:t>
            </a:r>
            <a:endParaRPr lang="de-DE"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2</a:t>
            </a:fld>
            <a:endParaRPr lang="de-DE" dirty="0"/>
          </a:p>
        </p:txBody>
      </p:sp>
    </p:spTree>
    <p:extLst>
      <p:ext uri="{BB962C8B-B14F-4D97-AF65-F5344CB8AC3E}">
        <p14:creationId xmlns:p14="http://schemas.microsoft.com/office/powerpoint/2010/main" val="27309877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ihandform 48"/>
          <p:cNvSpPr/>
          <p:nvPr/>
        </p:nvSpPr>
        <p:spPr>
          <a:xfrm>
            <a:off x="-2086464" y="-24350804"/>
            <a:ext cx="22385975" cy="30817870"/>
          </a:xfrm>
          <a:custGeom>
            <a:avLst/>
            <a:gdLst>
              <a:gd name="connsiteX0" fmla="*/ 4684471 w 9542485"/>
              <a:gd name="connsiteY0" fmla="*/ 2762228 h 13136754"/>
              <a:gd name="connsiteX1" fmla="*/ 4357899 w 9542485"/>
              <a:gd name="connsiteY1" fmla="*/ 3888899 h 13136754"/>
              <a:gd name="connsiteX2" fmla="*/ 3280214 w 9542485"/>
              <a:gd name="connsiteY2" fmla="*/ 5636057 h 13136754"/>
              <a:gd name="connsiteX3" fmla="*/ 2692385 w 9542485"/>
              <a:gd name="connsiteY3" fmla="*/ 6436157 h 13136754"/>
              <a:gd name="connsiteX4" fmla="*/ 1059528 w 9542485"/>
              <a:gd name="connsiteY4" fmla="*/ 7889399 h 13136754"/>
              <a:gd name="connsiteX5" fmla="*/ 161457 w 9542485"/>
              <a:gd name="connsiteY5" fmla="*/ 9456942 h 13136754"/>
              <a:gd name="connsiteX6" fmla="*/ 96142 w 9542485"/>
              <a:gd name="connsiteY6" fmla="*/ 11138785 h 13136754"/>
              <a:gd name="connsiteX7" fmla="*/ 1173828 w 9542485"/>
              <a:gd name="connsiteY7" fmla="*/ 12689999 h 13136754"/>
              <a:gd name="connsiteX8" fmla="*/ 2969971 w 9542485"/>
              <a:gd name="connsiteY8" fmla="*/ 13130871 h 13136754"/>
              <a:gd name="connsiteX9" fmla="*/ 5500899 w 9542485"/>
              <a:gd name="connsiteY9" fmla="*/ 12461399 h 13136754"/>
              <a:gd name="connsiteX10" fmla="*/ 7786899 w 9542485"/>
              <a:gd name="connsiteY10" fmla="*/ 10338685 h 13136754"/>
              <a:gd name="connsiteX11" fmla="*/ 9387099 w 9542485"/>
              <a:gd name="connsiteY11" fmla="*/ 7383214 h 13136754"/>
              <a:gd name="connsiteX12" fmla="*/ 9419757 w 9542485"/>
              <a:gd name="connsiteY12" fmla="*/ 3888899 h 13136754"/>
              <a:gd name="connsiteX13" fmla="*/ 8848257 w 9542485"/>
              <a:gd name="connsiteY13" fmla="*/ 1374299 h 13136754"/>
              <a:gd name="connsiteX14" fmla="*/ 7297042 w 9542485"/>
              <a:gd name="connsiteY14" fmla="*/ 149657 h 13136754"/>
              <a:gd name="connsiteX15" fmla="*/ 5386599 w 9542485"/>
              <a:gd name="connsiteY15" fmla="*/ 312942 h 13136754"/>
              <a:gd name="connsiteX16" fmla="*/ 4684471 w 9542485"/>
              <a:gd name="connsiteY16" fmla="*/ 2762228 h 13136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2485" h="13136754">
                <a:moveTo>
                  <a:pt x="4684471" y="2762228"/>
                </a:moveTo>
                <a:cubicBezTo>
                  <a:pt x="4513021" y="3358221"/>
                  <a:pt x="4591942" y="3409928"/>
                  <a:pt x="4357899" y="3888899"/>
                </a:cubicBezTo>
                <a:cubicBezTo>
                  <a:pt x="4123856" y="4367870"/>
                  <a:pt x="3557800" y="5211514"/>
                  <a:pt x="3280214" y="5636057"/>
                </a:cubicBezTo>
                <a:cubicBezTo>
                  <a:pt x="3002628" y="6060600"/>
                  <a:pt x="3062499" y="6060600"/>
                  <a:pt x="2692385" y="6436157"/>
                </a:cubicBezTo>
                <a:cubicBezTo>
                  <a:pt x="2322271" y="6811714"/>
                  <a:pt x="1481349" y="7385935"/>
                  <a:pt x="1059528" y="7889399"/>
                </a:cubicBezTo>
                <a:cubicBezTo>
                  <a:pt x="637707" y="8392863"/>
                  <a:pt x="322021" y="8915378"/>
                  <a:pt x="161457" y="9456942"/>
                </a:cubicBezTo>
                <a:cubicBezTo>
                  <a:pt x="893" y="9998506"/>
                  <a:pt x="-72586" y="10599942"/>
                  <a:pt x="96142" y="11138785"/>
                </a:cubicBezTo>
                <a:cubicBezTo>
                  <a:pt x="264870" y="11677628"/>
                  <a:pt x="694857" y="12357985"/>
                  <a:pt x="1173828" y="12689999"/>
                </a:cubicBezTo>
                <a:cubicBezTo>
                  <a:pt x="1652799" y="13022013"/>
                  <a:pt x="2248792" y="13168971"/>
                  <a:pt x="2969971" y="13130871"/>
                </a:cubicBezTo>
                <a:cubicBezTo>
                  <a:pt x="3691149" y="13092771"/>
                  <a:pt x="4698078" y="12926763"/>
                  <a:pt x="5500899" y="12461399"/>
                </a:cubicBezTo>
                <a:cubicBezTo>
                  <a:pt x="6303720" y="11996035"/>
                  <a:pt x="7139199" y="11185049"/>
                  <a:pt x="7786899" y="10338685"/>
                </a:cubicBezTo>
                <a:cubicBezTo>
                  <a:pt x="8434599" y="9492321"/>
                  <a:pt x="9114956" y="8458178"/>
                  <a:pt x="9387099" y="7383214"/>
                </a:cubicBezTo>
                <a:cubicBezTo>
                  <a:pt x="9659242" y="6308250"/>
                  <a:pt x="9509564" y="4890385"/>
                  <a:pt x="9419757" y="3888899"/>
                </a:cubicBezTo>
                <a:cubicBezTo>
                  <a:pt x="9329950" y="2887413"/>
                  <a:pt x="9202043" y="1997506"/>
                  <a:pt x="8848257" y="1374299"/>
                </a:cubicBezTo>
                <a:cubicBezTo>
                  <a:pt x="8494471" y="751092"/>
                  <a:pt x="7873985" y="326550"/>
                  <a:pt x="7297042" y="149657"/>
                </a:cubicBezTo>
                <a:cubicBezTo>
                  <a:pt x="6720099" y="-27236"/>
                  <a:pt x="5822027" y="-125208"/>
                  <a:pt x="5386599" y="312942"/>
                </a:cubicBezTo>
                <a:cubicBezTo>
                  <a:pt x="4951171" y="751092"/>
                  <a:pt x="4855921" y="2166235"/>
                  <a:pt x="4684471" y="2762228"/>
                </a:cubicBezTo>
                <a:close/>
              </a:path>
            </a:pathLst>
          </a:custGeom>
          <a:solidFill>
            <a:srgbClr val="00B1EA"/>
          </a:solidFill>
          <a:ln w="76200"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0" name="Freihandform 49"/>
          <p:cNvSpPr/>
          <p:nvPr/>
        </p:nvSpPr>
        <p:spPr>
          <a:xfrm>
            <a:off x="2182800" y="-20191745"/>
            <a:ext cx="15407605" cy="23179488"/>
          </a:xfrm>
          <a:custGeom>
            <a:avLst/>
            <a:gdLst>
              <a:gd name="connsiteX0" fmla="*/ 2196428 w 3337496"/>
              <a:gd name="connsiteY0" fmla="*/ 14935 h 5020991"/>
              <a:gd name="connsiteX1" fmla="*/ 2186903 w 3337496"/>
              <a:gd name="connsiteY1" fmla="*/ 181622 h 5020991"/>
              <a:gd name="connsiteX2" fmla="*/ 2167853 w 3337496"/>
              <a:gd name="connsiteY2" fmla="*/ 443560 h 5020991"/>
              <a:gd name="connsiteX3" fmla="*/ 2082128 w 3337496"/>
              <a:gd name="connsiteY3" fmla="*/ 1019822 h 5020991"/>
              <a:gd name="connsiteX4" fmla="*/ 1982116 w 3337496"/>
              <a:gd name="connsiteY4" fmla="*/ 1353197 h 5020991"/>
              <a:gd name="connsiteX5" fmla="*/ 1824953 w 3337496"/>
              <a:gd name="connsiteY5" fmla="*/ 1719910 h 5020991"/>
              <a:gd name="connsiteX6" fmla="*/ 1529678 w 3337496"/>
              <a:gd name="connsiteY6" fmla="*/ 2186635 h 5020991"/>
              <a:gd name="connsiteX7" fmla="*/ 1386803 w 3337496"/>
              <a:gd name="connsiteY7" fmla="*/ 2367610 h 5020991"/>
              <a:gd name="connsiteX8" fmla="*/ 886741 w 3337496"/>
              <a:gd name="connsiteY8" fmla="*/ 2891485 h 5020991"/>
              <a:gd name="connsiteX9" fmla="*/ 734341 w 3337496"/>
              <a:gd name="connsiteY9" fmla="*/ 3029597 h 5020991"/>
              <a:gd name="connsiteX10" fmla="*/ 615278 w 3337496"/>
              <a:gd name="connsiteY10" fmla="*/ 3186760 h 5020991"/>
              <a:gd name="connsiteX11" fmla="*/ 367628 w 3337496"/>
              <a:gd name="connsiteY11" fmla="*/ 3539185 h 5020991"/>
              <a:gd name="connsiteX12" fmla="*/ 172366 w 3337496"/>
              <a:gd name="connsiteY12" fmla="*/ 3896372 h 5020991"/>
              <a:gd name="connsiteX13" fmla="*/ 53303 w 3337496"/>
              <a:gd name="connsiteY13" fmla="*/ 4234510 h 5020991"/>
              <a:gd name="connsiteX14" fmla="*/ 10441 w 3337496"/>
              <a:gd name="connsiteY14" fmla="*/ 4491685 h 5020991"/>
              <a:gd name="connsiteX15" fmla="*/ 916 w 3337496"/>
              <a:gd name="connsiteY15" fmla="*/ 4672660 h 5020991"/>
              <a:gd name="connsiteX16" fmla="*/ 916 w 3337496"/>
              <a:gd name="connsiteY16" fmla="*/ 4763147 h 5020991"/>
              <a:gd name="connsiteX17" fmla="*/ 5678 w 3337496"/>
              <a:gd name="connsiteY17" fmla="*/ 4786960 h 5020991"/>
              <a:gd name="connsiteX18" fmla="*/ 5678 w 3337496"/>
              <a:gd name="connsiteY18" fmla="*/ 4801247 h 5020991"/>
              <a:gd name="connsiteX19" fmla="*/ 5678 w 3337496"/>
              <a:gd name="connsiteY19" fmla="*/ 4815535 h 5020991"/>
              <a:gd name="connsiteX20" fmla="*/ 24728 w 3337496"/>
              <a:gd name="connsiteY20" fmla="*/ 4815535 h 5020991"/>
              <a:gd name="connsiteX21" fmla="*/ 91403 w 3337496"/>
              <a:gd name="connsiteY21" fmla="*/ 4853635 h 5020991"/>
              <a:gd name="connsiteX22" fmla="*/ 320003 w 3337496"/>
              <a:gd name="connsiteY22" fmla="*/ 4929835 h 5020991"/>
              <a:gd name="connsiteX23" fmla="*/ 701003 w 3337496"/>
              <a:gd name="connsiteY23" fmla="*/ 5010797 h 5020991"/>
              <a:gd name="connsiteX24" fmla="*/ 1191541 w 3337496"/>
              <a:gd name="connsiteY24" fmla="*/ 4991747 h 5020991"/>
              <a:gd name="connsiteX25" fmla="*/ 1805903 w 3337496"/>
              <a:gd name="connsiteY25" fmla="*/ 4758385 h 5020991"/>
              <a:gd name="connsiteX26" fmla="*/ 2015453 w 3337496"/>
              <a:gd name="connsiteY26" fmla="*/ 4625035 h 5020991"/>
              <a:gd name="connsiteX27" fmla="*/ 2215478 w 3337496"/>
              <a:gd name="connsiteY27" fmla="*/ 4420247 h 5020991"/>
              <a:gd name="connsiteX28" fmla="*/ 2525041 w 3337496"/>
              <a:gd name="connsiteY28" fmla="*/ 4029722 h 5020991"/>
              <a:gd name="connsiteX29" fmla="*/ 2844128 w 3337496"/>
              <a:gd name="connsiteY29" fmla="*/ 3520135 h 5020991"/>
              <a:gd name="connsiteX30" fmla="*/ 3187028 w 3337496"/>
              <a:gd name="connsiteY30" fmla="*/ 2715272 h 5020991"/>
              <a:gd name="connsiteX31" fmla="*/ 3329903 w 3337496"/>
              <a:gd name="connsiteY31" fmla="*/ 1910410 h 5020991"/>
              <a:gd name="connsiteX32" fmla="*/ 3315616 w 3337496"/>
              <a:gd name="connsiteY32" fmla="*/ 1110310 h 5020991"/>
              <a:gd name="connsiteX33" fmla="*/ 3296566 w 3337496"/>
              <a:gd name="connsiteY33" fmla="*/ 1005535 h 5020991"/>
              <a:gd name="connsiteX34" fmla="*/ 3244178 w 3337496"/>
              <a:gd name="connsiteY34" fmla="*/ 895997 h 5020991"/>
              <a:gd name="connsiteX35" fmla="*/ 3010816 w 3337496"/>
              <a:gd name="connsiteY35" fmla="*/ 519760 h 5020991"/>
              <a:gd name="connsiteX36" fmla="*/ 2706016 w 3337496"/>
              <a:gd name="connsiteY36" fmla="*/ 205435 h 5020991"/>
              <a:gd name="connsiteX37" fmla="*/ 2572666 w 3337496"/>
              <a:gd name="connsiteY37" fmla="*/ 114947 h 5020991"/>
              <a:gd name="connsiteX38" fmla="*/ 2486941 w 3337496"/>
              <a:gd name="connsiteY38" fmla="*/ 72085 h 5020991"/>
              <a:gd name="connsiteX39" fmla="*/ 2377403 w 3337496"/>
              <a:gd name="connsiteY39" fmla="*/ 33985 h 5020991"/>
              <a:gd name="connsiteX40" fmla="*/ 2263103 w 3337496"/>
              <a:gd name="connsiteY40" fmla="*/ 10172 h 5020991"/>
              <a:gd name="connsiteX41" fmla="*/ 2196428 w 3337496"/>
              <a:gd name="connsiteY41" fmla="*/ 14935 h 502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37496" h="5020991">
                <a:moveTo>
                  <a:pt x="2196428" y="14935"/>
                </a:moveTo>
                <a:cubicBezTo>
                  <a:pt x="2183728" y="43510"/>
                  <a:pt x="2191665" y="110185"/>
                  <a:pt x="2186903" y="181622"/>
                </a:cubicBezTo>
                <a:cubicBezTo>
                  <a:pt x="2182140" y="253060"/>
                  <a:pt x="2185315" y="303860"/>
                  <a:pt x="2167853" y="443560"/>
                </a:cubicBezTo>
                <a:cubicBezTo>
                  <a:pt x="2150391" y="583260"/>
                  <a:pt x="2113084" y="868216"/>
                  <a:pt x="2082128" y="1019822"/>
                </a:cubicBezTo>
                <a:cubicBezTo>
                  <a:pt x="2051172" y="1171428"/>
                  <a:pt x="2024978" y="1236516"/>
                  <a:pt x="1982116" y="1353197"/>
                </a:cubicBezTo>
                <a:cubicBezTo>
                  <a:pt x="1939253" y="1469878"/>
                  <a:pt x="1900359" y="1581004"/>
                  <a:pt x="1824953" y="1719910"/>
                </a:cubicBezTo>
                <a:cubicBezTo>
                  <a:pt x="1749547" y="1858816"/>
                  <a:pt x="1602703" y="2078685"/>
                  <a:pt x="1529678" y="2186635"/>
                </a:cubicBezTo>
                <a:cubicBezTo>
                  <a:pt x="1456653" y="2294585"/>
                  <a:pt x="1493959" y="2250135"/>
                  <a:pt x="1386803" y="2367610"/>
                </a:cubicBezTo>
                <a:cubicBezTo>
                  <a:pt x="1279647" y="2485085"/>
                  <a:pt x="995485" y="2781154"/>
                  <a:pt x="886741" y="2891485"/>
                </a:cubicBezTo>
                <a:cubicBezTo>
                  <a:pt x="777997" y="3001816"/>
                  <a:pt x="779585" y="2980385"/>
                  <a:pt x="734341" y="3029597"/>
                </a:cubicBezTo>
                <a:cubicBezTo>
                  <a:pt x="689097" y="3078809"/>
                  <a:pt x="676397" y="3101829"/>
                  <a:pt x="615278" y="3186760"/>
                </a:cubicBezTo>
                <a:cubicBezTo>
                  <a:pt x="554159" y="3271691"/>
                  <a:pt x="441447" y="3420916"/>
                  <a:pt x="367628" y="3539185"/>
                </a:cubicBezTo>
                <a:cubicBezTo>
                  <a:pt x="293809" y="3657454"/>
                  <a:pt x="224754" y="3780484"/>
                  <a:pt x="172366" y="3896372"/>
                </a:cubicBezTo>
                <a:cubicBezTo>
                  <a:pt x="119978" y="4012260"/>
                  <a:pt x="80291" y="4135291"/>
                  <a:pt x="53303" y="4234510"/>
                </a:cubicBezTo>
                <a:cubicBezTo>
                  <a:pt x="26315" y="4333729"/>
                  <a:pt x="19172" y="4418660"/>
                  <a:pt x="10441" y="4491685"/>
                </a:cubicBezTo>
                <a:cubicBezTo>
                  <a:pt x="1710" y="4564710"/>
                  <a:pt x="2503" y="4627416"/>
                  <a:pt x="916" y="4672660"/>
                </a:cubicBezTo>
                <a:cubicBezTo>
                  <a:pt x="-671" y="4717904"/>
                  <a:pt x="122" y="4744097"/>
                  <a:pt x="916" y="4763147"/>
                </a:cubicBezTo>
                <a:cubicBezTo>
                  <a:pt x="1710" y="4782197"/>
                  <a:pt x="5678" y="4786960"/>
                  <a:pt x="5678" y="4786960"/>
                </a:cubicBezTo>
                <a:cubicBezTo>
                  <a:pt x="6472" y="4793310"/>
                  <a:pt x="5678" y="4801247"/>
                  <a:pt x="5678" y="4801247"/>
                </a:cubicBezTo>
                <a:lnTo>
                  <a:pt x="5678" y="4815535"/>
                </a:lnTo>
                <a:cubicBezTo>
                  <a:pt x="8853" y="4817916"/>
                  <a:pt x="10440" y="4809185"/>
                  <a:pt x="24728" y="4815535"/>
                </a:cubicBezTo>
                <a:cubicBezTo>
                  <a:pt x="39016" y="4821885"/>
                  <a:pt x="42190" y="4834585"/>
                  <a:pt x="91403" y="4853635"/>
                </a:cubicBezTo>
                <a:cubicBezTo>
                  <a:pt x="140615" y="4872685"/>
                  <a:pt x="218403" y="4903641"/>
                  <a:pt x="320003" y="4929835"/>
                </a:cubicBezTo>
                <a:cubicBezTo>
                  <a:pt x="421603" y="4956029"/>
                  <a:pt x="555747" y="5000478"/>
                  <a:pt x="701003" y="5010797"/>
                </a:cubicBezTo>
                <a:cubicBezTo>
                  <a:pt x="846259" y="5021116"/>
                  <a:pt x="1007391" y="5033816"/>
                  <a:pt x="1191541" y="4991747"/>
                </a:cubicBezTo>
                <a:cubicBezTo>
                  <a:pt x="1375691" y="4949678"/>
                  <a:pt x="1668584" y="4819504"/>
                  <a:pt x="1805903" y="4758385"/>
                </a:cubicBezTo>
                <a:cubicBezTo>
                  <a:pt x="1943222" y="4697266"/>
                  <a:pt x="1947190" y="4681391"/>
                  <a:pt x="2015453" y="4625035"/>
                </a:cubicBezTo>
                <a:cubicBezTo>
                  <a:pt x="2083715" y="4568679"/>
                  <a:pt x="2130547" y="4519466"/>
                  <a:pt x="2215478" y="4420247"/>
                </a:cubicBezTo>
                <a:cubicBezTo>
                  <a:pt x="2300409" y="4321028"/>
                  <a:pt x="2420266" y="4179741"/>
                  <a:pt x="2525041" y="4029722"/>
                </a:cubicBezTo>
                <a:cubicBezTo>
                  <a:pt x="2629816" y="3879703"/>
                  <a:pt x="2733797" y="3739210"/>
                  <a:pt x="2844128" y="3520135"/>
                </a:cubicBezTo>
                <a:cubicBezTo>
                  <a:pt x="2954459" y="3301060"/>
                  <a:pt x="3106066" y="2983559"/>
                  <a:pt x="3187028" y="2715272"/>
                </a:cubicBezTo>
                <a:cubicBezTo>
                  <a:pt x="3267990" y="2446985"/>
                  <a:pt x="3308472" y="2177903"/>
                  <a:pt x="3329903" y="1910410"/>
                </a:cubicBezTo>
                <a:cubicBezTo>
                  <a:pt x="3351334" y="1642917"/>
                  <a:pt x="3321172" y="1261122"/>
                  <a:pt x="3315616" y="1110310"/>
                </a:cubicBezTo>
                <a:cubicBezTo>
                  <a:pt x="3310060" y="959498"/>
                  <a:pt x="3308472" y="1041254"/>
                  <a:pt x="3296566" y="1005535"/>
                </a:cubicBezTo>
                <a:cubicBezTo>
                  <a:pt x="3284660" y="969816"/>
                  <a:pt x="3291803" y="976960"/>
                  <a:pt x="3244178" y="895997"/>
                </a:cubicBezTo>
                <a:cubicBezTo>
                  <a:pt x="3196553" y="815035"/>
                  <a:pt x="3100510" y="634854"/>
                  <a:pt x="3010816" y="519760"/>
                </a:cubicBezTo>
                <a:cubicBezTo>
                  <a:pt x="2921122" y="404666"/>
                  <a:pt x="2779041" y="272904"/>
                  <a:pt x="2706016" y="205435"/>
                </a:cubicBezTo>
                <a:cubicBezTo>
                  <a:pt x="2632991" y="137966"/>
                  <a:pt x="2609178" y="137172"/>
                  <a:pt x="2572666" y="114947"/>
                </a:cubicBezTo>
                <a:cubicBezTo>
                  <a:pt x="2536154" y="92722"/>
                  <a:pt x="2519485" y="85579"/>
                  <a:pt x="2486941" y="72085"/>
                </a:cubicBezTo>
                <a:cubicBezTo>
                  <a:pt x="2454397" y="58591"/>
                  <a:pt x="2414709" y="44304"/>
                  <a:pt x="2377403" y="33985"/>
                </a:cubicBezTo>
                <a:cubicBezTo>
                  <a:pt x="2340097" y="23666"/>
                  <a:pt x="2290091" y="13347"/>
                  <a:pt x="2263103" y="10172"/>
                </a:cubicBezTo>
                <a:cubicBezTo>
                  <a:pt x="2236115" y="6997"/>
                  <a:pt x="2209128" y="-13640"/>
                  <a:pt x="2196428" y="14935"/>
                </a:cubicBezTo>
                <a:close/>
              </a:path>
            </a:pathLst>
          </a:custGeom>
          <a:pattFill prst="pct80">
            <a:fgClr>
              <a:srgbClr val="EF7C00"/>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1" name="Freihandform 50"/>
          <p:cNvSpPr/>
          <p:nvPr/>
        </p:nvSpPr>
        <p:spPr>
          <a:xfrm>
            <a:off x="3306746" y="-18447196"/>
            <a:ext cx="13828338" cy="20815633"/>
          </a:xfrm>
          <a:custGeom>
            <a:avLst/>
            <a:gdLst>
              <a:gd name="connsiteX0" fmla="*/ 1940642 w 2995406"/>
              <a:gd name="connsiteY0" fmla="*/ 589687 h 4508948"/>
              <a:gd name="connsiteX1" fmla="*/ 1778717 w 2995406"/>
              <a:gd name="connsiteY1" fmla="*/ 1089749 h 4508948"/>
              <a:gd name="connsiteX2" fmla="*/ 1483442 w 2995406"/>
              <a:gd name="connsiteY2" fmla="*/ 1670774 h 4508948"/>
              <a:gd name="connsiteX3" fmla="*/ 1140542 w 2995406"/>
              <a:gd name="connsiteY3" fmla="*/ 2180362 h 4508948"/>
              <a:gd name="connsiteX4" fmla="*/ 692867 w 2995406"/>
              <a:gd name="connsiteY4" fmla="*/ 2689949 h 4508948"/>
              <a:gd name="connsiteX5" fmla="*/ 335680 w 2995406"/>
              <a:gd name="connsiteY5" fmla="*/ 3132862 h 4508948"/>
              <a:gd name="connsiteX6" fmla="*/ 126130 w 2995406"/>
              <a:gd name="connsiteY6" fmla="*/ 3480524 h 4508948"/>
              <a:gd name="connsiteX7" fmla="*/ 21355 w 2995406"/>
              <a:gd name="connsiteY7" fmla="*/ 3799612 h 4508948"/>
              <a:gd name="connsiteX8" fmla="*/ 26117 w 2995406"/>
              <a:gd name="connsiteY8" fmla="*/ 4128224 h 4508948"/>
              <a:gd name="connsiteX9" fmla="*/ 292817 w 2995406"/>
              <a:gd name="connsiteY9" fmla="*/ 4418737 h 4508948"/>
              <a:gd name="connsiteX10" fmla="*/ 878605 w 2995406"/>
              <a:gd name="connsiteY10" fmla="*/ 4490174 h 4508948"/>
              <a:gd name="connsiteX11" fmla="*/ 1678705 w 2995406"/>
              <a:gd name="connsiteY11" fmla="*/ 4113937 h 4508948"/>
              <a:gd name="connsiteX12" fmla="*/ 2274017 w 2995406"/>
              <a:gd name="connsiteY12" fmla="*/ 3466237 h 4508948"/>
              <a:gd name="connsiteX13" fmla="*/ 2635967 w 2995406"/>
              <a:gd name="connsiteY13" fmla="*/ 2851874 h 4508948"/>
              <a:gd name="connsiteX14" fmla="*/ 2874092 w 2995406"/>
              <a:gd name="connsiteY14" fmla="*/ 2166074 h 4508948"/>
              <a:gd name="connsiteX15" fmla="*/ 2993155 w 2995406"/>
              <a:gd name="connsiteY15" fmla="*/ 1408837 h 4508948"/>
              <a:gd name="connsiteX16" fmla="*/ 2936005 w 2995406"/>
              <a:gd name="connsiteY16" fmla="*/ 889724 h 4508948"/>
              <a:gd name="connsiteX17" fmla="*/ 2745505 w 2995406"/>
              <a:gd name="connsiteY17" fmla="*/ 437287 h 4508948"/>
              <a:gd name="connsiteX18" fmla="*/ 2426417 w 2995406"/>
              <a:gd name="connsiteY18" fmla="*/ 89624 h 4508948"/>
              <a:gd name="connsiteX19" fmla="*/ 2297830 w 2995406"/>
              <a:gd name="connsiteY19" fmla="*/ 8662 h 4508948"/>
              <a:gd name="connsiteX20" fmla="*/ 2226392 w 2995406"/>
              <a:gd name="connsiteY20" fmla="*/ 3899 h 4508948"/>
              <a:gd name="connsiteX21" fmla="*/ 2174005 w 2995406"/>
              <a:gd name="connsiteY21" fmla="*/ 22949 h 4508948"/>
              <a:gd name="connsiteX22" fmla="*/ 2097805 w 2995406"/>
              <a:gd name="connsiteY22" fmla="*/ 151537 h 4508948"/>
              <a:gd name="connsiteX23" fmla="*/ 1940642 w 2995406"/>
              <a:gd name="connsiteY23" fmla="*/ 589687 h 450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95406" h="4508948">
                <a:moveTo>
                  <a:pt x="1940642" y="589687"/>
                </a:moveTo>
                <a:cubicBezTo>
                  <a:pt x="1887461" y="746056"/>
                  <a:pt x="1854917" y="909568"/>
                  <a:pt x="1778717" y="1089749"/>
                </a:cubicBezTo>
                <a:cubicBezTo>
                  <a:pt x="1702517" y="1269930"/>
                  <a:pt x="1589804" y="1489005"/>
                  <a:pt x="1483442" y="1670774"/>
                </a:cubicBezTo>
                <a:cubicBezTo>
                  <a:pt x="1377080" y="1852543"/>
                  <a:pt x="1272304" y="2010500"/>
                  <a:pt x="1140542" y="2180362"/>
                </a:cubicBezTo>
                <a:cubicBezTo>
                  <a:pt x="1008780" y="2350224"/>
                  <a:pt x="827011" y="2531199"/>
                  <a:pt x="692867" y="2689949"/>
                </a:cubicBezTo>
                <a:cubicBezTo>
                  <a:pt x="558723" y="2848699"/>
                  <a:pt x="430136" y="3001100"/>
                  <a:pt x="335680" y="3132862"/>
                </a:cubicBezTo>
                <a:cubicBezTo>
                  <a:pt x="241224" y="3264625"/>
                  <a:pt x="178517" y="3369399"/>
                  <a:pt x="126130" y="3480524"/>
                </a:cubicBezTo>
                <a:cubicBezTo>
                  <a:pt x="73743" y="3591649"/>
                  <a:pt x="38024" y="3691662"/>
                  <a:pt x="21355" y="3799612"/>
                </a:cubicBezTo>
                <a:cubicBezTo>
                  <a:pt x="4686" y="3907562"/>
                  <a:pt x="-19127" y="4025036"/>
                  <a:pt x="26117" y="4128224"/>
                </a:cubicBezTo>
                <a:cubicBezTo>
                  <a:pt x="71361" y="4231412"/>
                  <a:pt x="150736" y="4358412"/>
                  <a:pt x="292817" y="4418737"/>
                </a:cubicBezTo>
                <a:cubicBezTo>
                  <a:pt x="434898" y="4479062"/>
                  <a:pt x="647624" y="4540974"/>
                  <a:pt x="878605" y="4490174"/>
                </a:cubicBezTo>
                <a:cubicBezTo>
                  <a:pt x="1109586" y="4439374"/>
                  <a:pt x="1446136" y="4284593"/>
                  <a:pt x="1678705" y="4113937"/>
                </a:cubicBezTo>
                <a:cubicBezTo>
                  <a:pt x="1911274" y="3943281"/>
                  <a:pt x="2114473" y="3676581"/>
                  <a:pt x="2274017" y="3466237"/>
                </a:cubicBezTo>
                <a:cubicBezTo>
                  <a:pt x="2433561" y="3255893"/>
                  <a:pt x="2535955" y="3068568"/>
                  <a:pt x="2635967" y="2851874"/>
                </a:cubicBezTo>
                <a:cubicBezTo>
                  <a:pt x="2735979" y="2635180"/>
                  <a:pt x="2814561" y="2406580"/>
                  <a:pt x="2874092" y="2166074"/>
                </a:cubicBezTo>
                <a:cubicBezTo>
                  <a:pt x="2933623" y="1925568"/>
                  <a:pt x="2982836" y="1621562"/>
                  <a:pt x="2993155" y="1408837"/>
                </a:cubicBezTo>
                <a:cubicBezTo>
                  <a:pt x="3003474" y="1196112"/>
                  <a:pt x="2977280" y="1051649"/>
                  <a:pt x="2936005" y="889724"/>
                </a:cubicBezTo>
                <a:cubicBezTo>
                  <a:pt x="2894730" y="727799"/>
                  <a:pt x="2830436" y="570637"/>
                  <a:pt x="2745505" y="437287"/>
                </a:cubicBezTo>
                <a:cubicBezTo>
                  <a:pt x="2660574" y="303937"/>
                  <a:pt x="2501030" y="161061"/>
                  <a:pt x="2426417" y="89624"/>
                </a:cubicBezTo>
                <a:cubicBezTo>
                  <a:pt x="2351805" y="18186"/>
                  <a:pt x="2331167" y="22949"/>
                  <a:pt x="2297830" y="8662"/>
                </a:cubicBezTo>
                <a:cubicBezTo>
                  <a:pt x="2264493" y="-5625"/>
                  <a:pt x="2247030" y="1518"/>
                  <a:pt x="2226392" y="3899"/>
                </a:cubicBezTo>
                <a:cubicBezTo>
                  <a:pt x="2205755" y="6280"/>
                  <a:pt x="2195436" y="-1657"/>
                  <a:pt x="2174005" y="22949"/>
                </a:cubicBezTo>
                <a:cubicBezTo>
                  <a:pt x="2152574" y="47555"/>
                  <a:pt x="2135905" y="57875"/>
                  <a:pt x="2097805" y="151537"/>
                </a:cubicBezTo>
                <a:cubicBezTo>
                  <a:pt x="2059705" y="245199"/>
                  <a:pt x="1993823" y="433318"/>
                  <a:pt x="1940642" y="589687"/>
                </a:cubicBezTo>
                <a:close/>
              </a:path>
            </a:pathLst>
          </a:cu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2" name="Freihandform 51"/>
          <p:cNvSpPr/>
          <p:nvPr/>
        </p:nvSpPr>
        <p:spPr>
          <a:xfrm>
            <a:off x="6022722" y="-20241369"/>
            <a:ext cx="6260552" cy="13481310"/>
          </a:xfrm>
          <a:custGeom>
            <a:avLst/>
            <a:gdLst>
              <a:gd name="connsiteX0" fmla="*/ 1347562 w 1356120"/>
              <a:gd name="connsiteY0" fmla="*/ 11541 h 2920235"/>
              <a:gd name="connsiteX1" fmla="*/ 1333274 w 1356120"/>
              <a:gd name="connsiteY1" fmla="*/ 330629 h 2920235"/>
              <a:gd name="connsiteX2" fmla="*/ 1290412 w 1356120"/>
              <a:gd name="connsiteY2" fmla="*/ 792591 h 2920235"/>
              <a:gd name="connsiteX3" fmla="*/ 1147537 w 1356120"/>
              <a:gd name="connsiteY3" fmla="*/ 1364091 h 2920235"/>
              <a:gd name="connsiteX4" fmla="*/ 718912 w 1356120"/>
              <a:gd name="connsiteY4" fmla="*/ 2164191 h 2920235"/>
              <a:gd name="connsiteX5" fmla="*/ 185512 w 1356120"/>
              <a:gd name="connsiteY5" fmla="*/ 2764266 h 2920235"/>
              <a:gd name="connsiteX6" fmla="*/ 9299 w 1356120"/>
              <a:gd name="connsiteY6" fmla="*/ 2911904 h 2920235"/>
              <a:gd name="connsiteX7" fmla="*/ 37874 w 1356120"/>
              <a:gd name="connsiteY7" fmla="*/ 2888091 h 2920235"/>
              <a:gd name="connsiteX8" fmla="*/ 152174 w 1356120"/>
              <a:gd name="connsiteY8" fmla="*/ 2773791 h 2920235"/>
              <a:gd name="connsiteX9" fmla="*/ 685574 w 1356120"/>
              <a:gd name="connsiteY9" fmla="*/ 2087991 h 2920235"/>
              <a:gd name="connsiteX10" fmla="*/ 1028474 w 1356120"/>
              <a:gd name="connsiteY10" fmla="*/ 1411716 h 2920235"/>
              <a:gd name="connsiteX11" fmla="*/ 1199924 w 1356120"/>
              <a:gd name="connsiteY11" fmla="*/ 744966 h 2920235"/>
              <a:gd name="connsiteX12" fmla="*/ 1347562 w 1356120"/>
              <a:gd name="connsiteY12" fmla="*/ 11541 h 292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6120" h="2920235">
                <a:moveTo>
                  <a:pt x="1347562" y="11541"/>
                </a:moveTo>
                <a:cubicBezTo>
                  <a:pt x="1369787" y="-57515"/>
                  <a:pt x="1342799" y="200454"/>
                  <a:pt x="1333274" y="330629"/>
                </a:cubicBezTo>
                <a:cubicBezTo>
                  <a:pt x="1323749" y="460804"/>
                  <a:pt x="1321368" y="620347"/>
                  <a:pt x="1290412" y="792591"/>
                </a:cubicBezTo>
                <a:cubicBezTo>
                  <a:pt x="1259456" y="964835"/>
                  <a:pt x="1242787" y="1135491"/>
                  <a:pt x="1147537" y="1364091"/>
                </a:cubicBezTo>
                <a:cubicBezTo>
                  <a:pt x="1052287" y="1592691"/>
                  <a:pt x="879249" y="1930829"/>
                  <a:pt x="718912" y="2164191"/>
                </a:cubicBezTo>
                <a:cubicBezTo>
                  <a:pt x="558575" y="2397553"/>
                  <a:pt x="303781" y="2639647"/>
                  <a:pt x="185512" y="2764266"/>
                </a:cubicBezTo>
                <a:cubicBezTo>
                  <a:pt x="67243" y="2888885"/>
                  <a:pt x="33905" y="2891267"/>
                  <a:pt x="9299" y="2911904"/>
                </a:cubicBezTo>
                <a:cubicBezTo>
                  <a:pt x="-15307" y="2932542"/>
                  <a:pt x="14062" y="2911110"/>
                  <a:pt x="37874" y="2888091"/>
                </a:cubicBezTo>
                <a:cubicBezTo>
                  <a:pt x="61686" y="2865072"/>
                  <a:pt x="44224" y="2907141"/>
                  <a:pt x="152174" y="2773791"/>
                </a:cubicBezTo>
                <a:cubicBezTo>
                  <a:pt x="260124" y="2640441"/>
                  <a:pt x="539524" y="2315004"/>
                  <a:pt x="685574" y="2087991"/>
                </a:cubicBezTo>
                <a:cubicBezTo>
                  <a:pt x="831624" y="1860979"/>
                  <a:pt x="942749" y="1635553"/>
                  <a:pt x="1028474" y="1411716"/>
                </a:cubicBezTo>
                <a:cubicBezTo>
                  <a:pt x="1114199" y="1187879"/>
                  <a:pt x="1148330" y="976741"/>
                  <a:pt x="1199924" y="744966"/>
                </a:cubicBezTo>
                <a:cubicBezTo>
                  <a:pt x="1251518" y="513191"/>
                  <a:pt x="1325337" y="80597"/>
                  <a:pt x="1347562" y="11541"/>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3" name="Freihandform 52"/>
          <p:cNvSpPr/>
          <p:nvPr/>
        </p:nvSpPr>
        <p:spPr>
          <a:xfrm>
            <a:off x="1315703" y="-6407542"/>
            <a:ext cx="4394667" cy="8426055"/>
          </a:xfrm>
          <a:custGeom>
            <a:avLst/>
            <a:gdLst>
              <a:gd name="connsiteX0" fmla="*/ 943178 w 951944"/>
              <a:gd name="connsiteY0" fmla="*/ 5796 h 1825198"/>
              <a:gd name="connsiteX1" fmla="*/ 666953 w 951944"/>
              <a:gd name="connsiteY1" fmla="*/ 367746 h 1825198"/>
              <a:gd name="connsiteX2" fmla="*/ 366916 w 951944"/>
              <a:gd name="connsiteY2" fmla="*/ 867809 h 1825198"/>
              <a:gd name="connsiteX3" fmla="*/ 247853 w 951944"/>
              <a:gd name="connsiteY3" fmla="*/ 1191659 h 1825198"/>
              <a:gd name="connsiteX4" fmla="*/ 171653 w 951944"/>
              <a:gd name="connsiteY4" fmla="*/ 1605996 h 1825198"/>
              <a:gd name="connsiteX5" fmla="*/ 185941 w 951944"/>
              <a:gd name="connsiteY5" fmla="*/ 1753634 h 1825198"/>
              <a:gd name="connsiteX6" fmla="*/ 185941 w 951944"/>
              <a:gd name="connsiteY6" fmla="*/ 1801259 h 1825198"/>
              <a:gd name="connsiteX7" fmla="*/ 185941 w 951944"/>
              <a:gd name="connsiteY7" fmla="*/ 1825071 h 1825198"/>
              <a:gd name="connsiteX8" fmla="*/ 176416 w 951944"/>
              <a:gd name="connsiteY8" fmla="*/ 1791734 h 1825198"/>
              <a:gd name="connsiteX9" fmla="*/ 128791 w 951944"/>
              <a:gd name="connsiteY9" fmla="*/ 1663146 h 1825198"/>
              <a:gd name="connsiteX10" fmla="*/ 203 w 951944"/>
              <a:gd name="connsiteY10" fmla="*/ 1353584 h 1825198"/>
              <a:gd name="connsiteX11" fmla="*/ 104978 w 951944"/>
              <a:gd name="connsiteY11" fmla="*/ 1001159 h 1825198"/>
              <a:gd name="connsiteX12" fmla="*/ 324053 w 951944"/>
              <a:gd name="connsiteY12" fmla="*/ 658259 h 1825198"/>
              <a:gd name="connsiteX13" fmla="*/ 943178 w 951944"/>
              <a:gd name="connsiteY13" fmla="*/ 5796 h 1825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1944" h="1825198">
                <a:moveTo>
                  <a:pt x="943178" y="5796"/>
                </a:moveTo>
                <a:cubicBezTo>
                  <a:pt x="1000328" y="-42623"/>
                  <a:pt x="762997" y="224077"/>
                  <a:pt x="666953" y="367746"/>
                </a:cubicBezTo>
                <a:cubicBezTo>
                  <a:pt x="570909" y="511415"/>
                  <a:pt x="436766" y="730490"/>
                  <a:pt x="366916" y="867809"/>
                </a:cubicBezTo>
                <a:cubicBezTo>
                  <a:pt x="297066" y="1005128"/>
                  <a:pt x="280397" y="1068628"/>
                  <a:pt x="247853" y="1191659"/>
                </a:cubicBezTo>
                <a:cubicBezTo>
                  <a:pt x="215309" y="1314690"/>
                  <a:pt x="181972" y="1512333"/>
                  <a:pt x="171653" y="1605996"/>
                </a:cubicBezTo>
                <a:cubicBezTo>
                  <a:pt x="161334" y="1699659"/>
                  <a:pt x="183560" y="1721090"/>
                  <a:pt x="185941" y="1753634"/>
                </a:cubicBezTo>
                <a:cubicBezTo>
                  <a:pt x="188322" y="1786178"/>
                  <a:pt x="185941" y="1801259"/>
                  <a:pt x="185941" y="1801259"/>
                </a:cubicBezTo>
                <a:cubicBezTo>
                  <a:pt x="185941" y="1813165"/>
                  <a:pt x="187528" y="1826658"/>
                  <a:pt x="185941" y="1825071"/>
                </a:cubicBezTo>
                <a:cubicBezTo>
                  <a:pt x="184354" y="1823484"/>
                  <a:pt x="185941" y="1818721"/>
                  <a:pt x="176416" y="1791734"/>
                </a:cubicBezTo>
                <a:cubicBezTo>
                  <a:pt x="166891" y="1764747"/>
                  <a:pt x="158160" y="1736171"/>
                  <a:pt x="128791" y="1663146"/>
                </a:cubicBezTo>
                <a:cubicBezTo>
                  <a:pt x="99422" y="1590121"/>
                  <a:pt x="4172" y="1463915"/>
                  <a:pt x="203" y="1353584"/>
                </a:cubicBezTo>
                <a:cubicBezTo>
                  <a:pt x="-3766" y="1243253"/>
                  <a:pt x="51003" y="1117046"/>
                  <a:pt x="104978" y="1001159"/>
                </a:cubicBezTo>
                <a:cubicBezTo>
                  <a:pt x="158953" y="885272"/>
                  <a:pt x="189115" y="822565"/>
                  <a:pt x="324053" y="658259"/>
                </a:cubicBezTo>
                <a:cubicBezTo>
                  <a:pt x="458990" y="493953"/>
                  <a:pt x="886028" y="54215"/>
                  <a:pt x="943178" y="5796"/>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4" name="Freihandform 53"/>
          <p:cNvSpPr/>
          <p:nvPr/>
        </p:nvSpPr>
        <p:spPr>
          <a:xfrm>
            <a:off x="2209981" y="1134882"/>
            <a:ext cx="9382550" cy="2786522"/>
          </a:xfrm>
          <a:custGeom>
            <a:avLst/>
            <a:gdLst>
              <a:gd name="connsiteX0" fmla="*/ 1754 w 2032388"/>
              <a:gd name="connsiteY0" fmla="*/ 200805 h 603598"/>
              <a:gd name="connsiteX1" fmla="*/ 258929 w 2032388"/>
              <a:gd name="connsiteY1" fmla="*/ 305580 h 603598"/>
              <a:gd name="connsiteX2" fmla="*/ 749466 w 2032388"/>
              <a:gd name="connsiteY2" fmla="*/ 405593 h 603598"/>
              <a:gd name="connsiteX3" fmla="*/ 1249529 w 2032388"/>
              <a:gd name="connsiteY3" fmla="*/ 367493 h 603598"/>
              <a:gd name="connsiteX4" fmla="*/ 1716254 w 2032388"/>
              <a:gd name="connsiteY4" fmla="*/ 191280 h 603598"/>
              <a:gd name="connsiteX5" fmla="*/ 1901991 w 2032388"/>
              <a:gd name="connsiteY5" fmla="*/ 86505 h 603598"/>
              <a:gd name="connsiteX6" fmla="*/ 1982954 w 2032388"/>
              <a:gd name="connsiteY6" fmla="*/ 43643 h 603598"/>
              <a:gd name="connsiteX7" fmla="*/ 2030579 w 2032388"/>
              <a:gd name="connsiteY7" fmla="*/ 780 h 603598"/>
              <a:gd name="connsiteX8" fmla="*/ 2016291 w 2032388"/>
              <a:gd name="connsiteY8" fmla="*/ 19830 h 603598"/>
              <a:gd name="connsiteX9" fmla="*/ 1959141 w 2032388"/>
              <a:gd name="connsiteY9" fmla="*/ 67455 h 603598"/>
              <a:gd name="connsiteX10" fmla="*/ 1897229 w 2032388"/>
              <a:gd name="connsiteY10" fmla="*/ 119843 h 603598"/>
              <a:gd name="connsiteX11" fmla="*/ 1254291 w 2032388"/>
              <a:gd name="connsiteY11" fmla="*/ 481793 h 603598"/>
              <a:gd name="connsiteX12" fmla="*/ 773279 w 2032388"/>
              <a:gd name="connsiteY12" fmla="*/ 600855 h 603598"/>
              <a:gd name="connsiteX13" fmla="*/ 377991 w 2032388"/>
              <a:gd name="connsiteY13" fmla="*/ 534180 h 603598"/>
              <a:gd name="connsiteX14" fmla="*/ 1754 w 2032388"/>
              <a:gd name="connsiteY14" fmla="*/ 200805 h 60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2388" h="603598">
                <a:moveTo>
                  <a:pt x="1754" y="200805"/>
                </a:moveTo>
                <a:cubicBezTo>
                  <a:pt x="-18090" y="162705"/>
                  <a:pt x="134310" y="271449"/>
                  <a:pt x="258929" y="305580"/>
                </a:cubicBezTo>
                <a:cubicBezTo>
                  <a:pt x="383548" y="339711"/>
                  <a:pt x="584366" y="395274"/>
                  <a:pt x="749466" y="405593"/>
                </a:cubicBezTo>
                <a:cubicBezTo>
                  <a:pt x="914566" y="415912"/>
                  <a:pt x="1088398" y="403212"/>
                  <a:pt x="1249529" y="367493"/>
                </a:cubicBezTo>
                <a:cubicBezTo>
                  <a:pt x="1410660" y="331774"/>
                  <a:pt x="1607510" y="238111"/>
                  <a:pt x="1716254" y="191280"/>
                </a:cubicBezTo>
                <a:cubicBezTo>
                  <a:pt x="1824998" y="144449"/>
                  <a:pt x="1857541" y="111111"/>
                  <a:pt x="1901991" y="86505"/>
                </a:cubicBezTo>
                <a:cubicBezTo>
                  <a:pt x="1946441" y="61899"/>
                  <a:pt x="1961523" y="57930"/>
                  <a:pt x="1982954" y="43643"/>
                </a:cubicBezTo>
                <a:cubicBezTo>
                  <a:pt x="2004385" y="29356"/>
                  <a:pt x="2030579" y="780"/>
                  <a:pt x="2030579" y="780"/>
                </a:cubicBezTo>
                <a:cubicBezTo>
                  <a:pt x="2036135" y="-3189"/>
                  <a:pt x="2028197" y="8718"/>
                  <a:pt x="2016291" y="19830"/>
                </a:cubicBezTo>
                <a:cubicBezTo>
                  <a:pt x="2004385" y="30942"/>
                  <a:pt x="1959141" y="67455"/>
                  <a:pt x="1959141" y="67455"/>
                </a:cubicBezTo>
                <a:cubicBezTo>
                  <a:pt x="1939297" y="84124"/>
                  <a:pt x="2014704" y="50787"/>
                  <a:pt x="1897229" y="119843"/>
                </a:cubicBezTo>
                <a:cubicBezTo>
                  <a:pt x="1779754" y="188899"/>
                  <a:pt x="1441616" y="401624"/>
                  <a:pt x="1254291" y="481793"/>
                </a:cubicBezTo>
                <a:cubicBezTo>
                  <a:pt x="1066966" y="561962"/>
                  <a:pt x="919329" y="592124"/>
                  <a:pt x="773279" y="600855"/>
                </a:cubicBezTo>
                <a:cubicBezTo>
                  <a:pt x="627229" y="609586"/>
                  <a:pt x="506578" y="600061"/>
                  <a:pt x="377991" y="534180"/>
                </a:cubicBezTo>
                <a:cubicBezTo>
                  <a:pt x="249404" y="468299"/>
                  <a:pt x="21598" y="238905"/>
                  <a:pt x="1754" y="20080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5" name="Freihandform 54"/>
          <p:cNvSpPr/>
          <p:nvPr/>
        </p:nvSpPr>
        <p:spPr>
          <a:xfrm>
            <a:off x="11576312" y="-15613168"/>
            <a:ext cx="6308498" cy="16820944"/>
          </a:xfrm>
          <a:custGeom>
            <a:avLst/>
            <a:gdLst>
              <a:gd name="connsiteX0" fmla="*/ 1270117 w 1366507"/>
              <a:gd name="connsiteY0" fmla="*/ 9135 h 3643644"/>
              <a:gd name="connsiteX1" fmla="*/ 1301867 w 1366507"/>
              <a:gd name="connsiteY1" fmla="*/ 644135 h 3643644"/>
              <a:gd name="connsiteX2" fmla="*/ 1181217 w 1366507"/>
              <a:gd name="connsiteY2" fmla="*/ 1628385 h 3643644"/>
              <a:gd name="connsiteX3" fmla="*/ 863717 w 1366507"/>
              <a:gd name="connsiteY3" fmla="*/ 2422135 h 3643644"/>
              <a:gd name="connsiteX4" fmla="*/ 450967 w 1366507"/>
              <a:gd name="connsiteY4" fmla="*/ 3101585 h 3643644"/>
              <a:gd name="connsiteX5" fmla="*/ 38217 w 1366507"/>
              <a:gd name="connsiteY5" fmla="*/ 3603235 h 3643644"/>
              <a:gd name="connsiteX6" fmla="*/ 31867 w 1366507"/>
              <a:gd name="connsiteY6" fmla="*/ 3603235 h 3643644"/>
              <a:gd name="connsiteX7" fmla="*/ 158867 w 1366507"/>
              <a:gd name="connsiteY7" fmla="*/ 3520685 h 3643644"/>
              <a:gd name="connsiteX8" fmla="*/ 882767 w 1366507"/>
              <a:gd name="connsiteY8" fmla="*/ 2561835 h 3643644"/>
              <a:gd name="connsiteX9" fmla="*/ 1212967 w 1366507"/>
              <a:gd name="connsiteY9" fmla="*/ 1844285 h 3643644"/>
              <a:gd name="connsiteX10" fmla="*/ 1365367 w 1366507"/>
              <a:gd name="connsiteY10" fmla="*/ 1114035 h 3643644"/>
              <a:gd name="connsiteX11" fmla="*/ 1270117 w 1366507"/>
              <a:gd name="connsiteY11" fmla="*/ 9135 h 364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6507" h="3643644">
                <a:moveTo>
                  <a:pt x="1270117" y="9135"/>
                </a:moveTo>
                <a:cubicBezTo>
                  <a:pt x="1259534" y="-69182"/>
                  <a:pt x="1316684" y="374260"/>
                  <a:pt x="1301867" y="644135"/>
                </a:cubicBezTo>
                <a:cubicBezTo>
                  <a:pt x="1287050" y="914010"/>
                  <a:pt x="1254242" y="1332052"/>
                  <a:pt x="1181217" y="1628385"/>
                </a:cubicBezTo>
                <a:cubicBezTo>
                  <a:pt x="1108192" y="1924718"/>
                  <a:pt x="985425" y="2176602"/>
                  <a:pt x="863717" y="2422135"/>
                </a:cubicBezTo>
                <a:cubicBezTo>
                  <a:pt x="742009" y="2667668"/>
                  <a:pt x="588550" y="2904735"/>
                  <a:pt x="450967" y="3101585"/>
                </a:cubicBezTo>
                <a:cubicBezTo>
                  <a:pt x="313384" y="3298435"/>
                  <a:pt x="38217" y="3603235"/>
                  <a:pt x="38217" y="3603235"/>
                </a:cubicBezTo>
                <a:cubicBezTo>
                  <a:pt x="-31633" y="3686843"/>
                  <a:pt x="11759" y="3616993"/>
                  <a:pt x="31867" y="3603235"/>
                </a:cubicBezTo>
                <a:cubicBezTo>
                  <a:pt x="51975" y="3589477"/>
                  <a:pt x="17050" y="3694252"/>
                  <a:pt x="158867" y="3520685"/>
                </a:cubicBezTo>
                <a:cubicBezTo>
                  <a:pt x="300684" y="3347118"/>
                  <a:pt x="707084" y="2841235"/>
                  <a:pt x="882767" y="2561835"/>
                </a:cubicBezTo>
                <a:cubicBezTo>
                  <a:pt x="1058450" y="2282435"/>
                  <a:pt x="1132534" y="2085585"/>
                  <a:pt x="1212967" y="1844285"/>
                </a:cubicBezTo>
                <a:cubicBezTo>
                  <a:pt x="1293400" y="1602985"/>
                  <a:pt x="1352667" y="1415660"/>
                  <a:pt x="1365367" y="1114035"/>
                </a:cubicBezTo>
                <a:cubicBezTo>
                  <a:pt x="1378067" y="812410"/>
                  <a:pt x="1280700" y="87452"/>
                  <a:pt x="1270117" y="913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6" name="Freihandform 55"/>
          <p:cNvSpPr/>
          <p:nvPr/>
        </p:nvSpPr>
        <p:spPr>
          <a:xfrm>
            <a:off x="12300505" y="-21620616"/>
            <a:ext cx="4978309" cy="5702212"/>
          </a:xfrm>
          <a:custGeom>
            <a:avLst/>
            <a:gdLst>
              <a:gd name="connsiteX0" fmla="*/ 1996 w 1078369"/>
              <a:gd name="connsiteY0" fmla="*/ 307129 h 1235176"/>
              <a:gd name="connsiteX1" fmla="*/ 116296 w 1078369"/>
              <a:gd name="connsiteY1" fmla="*/ 319829 h 1235176"/>
              <a:gd name="connsiteX2" fmla="*/ 287746 w 1078369"/>
              <a:gd name="connsiteY2" fmla="*/ 370629 h 1235176"/>
              <a:gd name="connsiteX3" fmla="*/ 503646 w 1078369"/>
              <a:gd name="connsiteY3" fmla="*/ 484929 h 1235176"/>
              <a:gd name="connsiteX4" fmla="*/ 770346 w 1078369"/>
              <a:gd name="connsiteY4" fmla="*/ 764329 h 1235176"/>
              <a:gd name="connsiteX5" fmla="*/ 1024346 w 1078369"/>
              <a:gd name="connsiteY5" fmla="*/ 1138979 h 1235176"/>
              <a:gd name="connsiteX6" fmla="*/ 1056096 w 1078369"/>
              <a:gd name="connsiteY6" fmla="*/ 1189779 h 1235176"/>
              <a:gd name="connsiteX7" fmla="*/ 1075146 w 1078369"/>
              <a:gd name="connsiteY7" fmla="*/ 1234229 h 1235176"/>
              <a:gd name="connsiteX8" fmla="*/ 1075146 w 1078369"/>
              <a:gd name="connsiteY8" fmla="*/ 1215179 h 1235176"/>
              <a:gd name="connsiteX9" fmla="*/ 1043396 w 1078369"/>
              <a:gd name="connsiteY9" fmla="*/ 1158029 h 1235176"/>
              <a:gd name="connsiteX10" fmla="*/ 681446 w 1078369"/>
              <a:gd name="connsiteY10" fmla="*/ 497629 h 1235176"/>
              <a:gd name="connsiteX11" fmla="*/ 427446 w 1078369"/>
              <a:gd name="connsiteY11" fmla="*/ 167429 h 1235176"/>
              <a:gd name="connsiteX12" fmla="*/ 211546 w 1078369"/>
              <a:gd name="connsiteY12" fmla="*/ 2329 h 1235176"/>
              <a:gd name="connsiteX13" fmla="*/ 1996 w 1078369"/>
              <a:gd name="connsiteY13" fmla="*/ 307129 h 123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8369" h="1235176">
                <a:moveTo>
                  <a:pt x="1996" y="307129"/>
                </a:moveTo>
                <a:cubicBezTo>
                  <a:pt x="-13879" y="360046"/>
                  <a:pt x="68671" y="309246"/>
                  <a:pt x="116296" y="319829"/>
                </a:cubicBezTo>
                <a:cubicBezTo>
                  <a:pt x="163921" y="330412"/>
                  <a:pt x="223188" y="343112"/>
                  <a:pt x="287746" y="370629"/>
                </a:cubicBezTo>
                <a:cubicBezTo>
                  <a:pt x="352304" y="398146"/>
                  <a:pt x="423213" y="419312"/>
                  <a:pt x="503646" y="484929"/>
                </a:cubicBezTo>
                <a:cubicBezTo>
                  <a:pt x="584079" y="550546"/>
                  <a:pt x="683563" y="655321"/>
                  <a:pt x="770346" y="764329"/>
                </a:cubicBezTo>
                <a:cubicBezTo>
                  <a:pt x="857129" y="873337"/>
                  <a:pt x="976721" y="1068071"/>
                  <a:pt x="1024346" y="1138979"/>
                </a:cubicBezTo>
                <a:cubicBezTo>
                  <a:pt x="1071971" y="1209887"/>
                  <a:pt x="1047629" y="1173904"/>
                  <a:pt x="1056096" y="1189779"/>
                </a:cubicBezTo>
                <a:cubicBezTo>
                  <a:pt x="1064563" y="1205654"/>
                  <a:pt x="1075146" y="1234229"/>
                  <a:pt x="1075146" y="1234229"/>
                </a:cubicBezTo>
                <a:cubicBezTo>
                  <a:pt x="1078321" y="1238462"/>
                  <a:pt x="1080438" y="1227879"/>
                  <a:pt x="1075146" y="1215179"/>
                </a:cubicBezTo>
                <a:cubicBezTo>
                  <a:pt x="1069854" y="1202479"/>
                  <a:pt x="1043396" y="1158029"/>
                  <a:pt x="1043396" y="1158029"/>
                </a:cubicBezTo>
                <a:cubicBezTo>
                  <a:pt x="977779" y="1038437"/>
                  <a:pt x="784104" y="662729"/>
                  <a:pt x="681446" y="497629"/>
                </a:cubicBezTo>
                <a:cubicBezTo>
                  <a:pt x="578788" y="332529"/>
                  <a:pt x="505763" y="249979"/>
                  <a:pt x="427446" y="167429"/>
                </a:cubicBezTo>
                <a:cubicBezTo>
                  <a:pt x="349129" y="84879"/>
                  <a:pt x="280338" y="-16721"/>
                  <a:pt x="211546" y="2329"/>
                </a:cubicBezTo>
                <a:cubicBezTo>
                  <a:pt x="142754" y="21379"/>
                  <a:pt x="17871" y="254212"/>
                  <a:pt x="1996" y="307129"/>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7" name="Freihandform 56"/>
          <p:cNvSpPr/>
          <p:nvPr/>
        </p:nvSpPr>
        <p:spPr>
          <a:xfrm>
            <a:off x="2193115" y="1412608"/>
            <a:ext cx="9116758" cy="3251617"/>
          </a:xfrm>
          <a:custGeom>
            <a:avLst/>
            <a:gdLst>
              <a:gd name="connsiteX0" fmla="*/ 2032 w 3886206"/>
              <a:gd name="connsiteY0" fmla="*/ 257291 h 1386070"/>
              <a:gd name="connsiteX1" fmla="*/ 82994 w 3886206"/>
              <a:gd name="connsiteY1" fmla="*/ 566854 h 1386070"/>
              <a:gd name="connsiteX2" fmla="*/ 140144 w 3886206"/>
              <a:gd name="connsiteY2" fmla="*/ 733541 h 1386070"/>
              <a:gd name="connsiteX3" fmla="*/ 230632 w 3886206"/>
              <a:gd name="connsiteY3" fmla="*/ 928804 h 1386070"/>
              <a:gd name="connsiteX4" fmla="*/ 373507 w 3886206"/>
              <a:gd name="connsiteY4" fmla="*/ 1071679 h 1386070"/>
              <a:gd name="connsiteX5" fmla="*/ 568769 w 3886206"/>
              <a:gd name="connsiteY5" fmla="*/ 1224079 h 1386070"/>
              <a:gd name="connsiteX6" fmla="*/ 840232 w 3886206"/>
              <a:gd name="connsiteY6" fmla="*/ 1333616 h 1386070"/>
              <a:gd name="connsiteX7" fmla="*/ 1287907 w 3886206"/>
              <a:gd name="connsiteY7" fmla="*/ 1386004 h 1386070"/>
              <a:gd name="connsiteX8" fmla="*/ 1930844 w 3886206"/>
              <a:gd name="connsiteY8" fmla="*/ 1324091 h 1386070"/>
              <a:gd name="connsiteX9" fmla="*/ 2559494 w 3886206"/>
              <a:gd name="connsiteY9" fmla="*/ 1095491 h 1386070"/>
              <a:gd name="connsiteX10" fmla="*/ 2969069 w 3886206"/>
              <a:gd name="connsiteY10" fmla="*/ 795454 h 1386070"/>
              <a:gd name="connsiteX11" fmla="*/ 3654869 w 3886206"/>
              <a:gd name="connsiteY11" fmla="*/ 219191 h 1386070"/>
              <a:gd name="connsiteX12" fmla="*/ 3759644 w 3886206"/>
              <a:gd name="connsiteY12" fmla="*/ 133466 h 1386070"/>
              <a:gd name="connsiteX13" fmla="*/ 3864419 w 3886206"/>
              <a:gd name="connsiteY13" fmla="*/ 33454 h 1386070"/>
              <a:gd name="connsiteX14" fmla="*/ 3878707 w 3886206"/>
              <a:gd name="connsiteY14" fmla="*/ 19166 h 1386070"/>
              <a:gd name="connsiteX15" fmla="*/ 3883469 w 3886206"/>
              <a:gd name="connsiteY15" fmla="*/ 116 h 1386070"/>
              <a:gd name="connsiteX16" fmla="*/ 3835844 w 3886206"/>
              <a:gd name="connsiteY16" fmla="*/ 28691 h 1386070"/>
              <a:gd name="connsiteX17" fmla="*/ 3764407 w 3886206"/>
              <a:gd name="connsiteY17" fmla="*/ 85841 h 1386070"/>
              <a:gd name="connsiteX18" fmla="*/ 3521519 w 3886206"/>
              <a:gd name="connsiteY18" fmla="*/ 252529 h 1386070"/>
              <a:gd name="connsiteX19" fmla="*/ 3016694 w 3886206"/>
              <a:gd name="connsiteY19" fmla="*/ 543041 h 1386070"/>
              <a:gd name="connsiteX20" fmla="*/ 2535682 w 3886206"/>
              <a:gd name="connsiteY20" fmla="*/ 800216 h 1386070"/>
              <a:gd name="connsiteX21" fmla="*/ 1911794 w 3886206"/>
              <a:gd name="connsiteY21" fmla="*/ 1014529 h 1386070"/>
              <a:gd name="connsiteX22" fmla="*/ 1502219 w 3886206"/>
              <a:gd name="connsiteY22" fmla="*/ 1062154 h 1386070"/>
              <a:gd name="connsiteX23" fmla="*/ 1035494 w 3886206"/>
              <a:gd name="connsiteY23" fmla="*/ 1043104 h 1386070"/>
              <a:gd name="connsiteX24" fmla="*/ 630682 w 3886206"/>
              <a:gd name="connsiteY24" fmla="*/ 866891 h 1386070"/>
              <a:gd name="connsiteX25" fmla="*/ 325882 w 3886206"/>
              <a:gd name="connsiteY25" fmla="*/ 604954 h 1386070"/>
              <a:gd name="connsiteX26" fmla="*/ 173482 w 3886206"/>
              <a:gd name="connsiteY26" fmla="*/ 443029 h 1386070"/>
              <a:gd name="connsiteX27" fmla="*/ 2032 w 3886206"/>
              <a:gd name="connsiteY27" fmla="*/ 257291 h 138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86206" h="1386070">
                <a:moveTo>
                  <a:pt x="2032" y="257291"/>
                </a:moveTo>
                <a:cubicBezTo>
                  <a:pt x="-13049" y="277928"/>
                  <a:pt x="59975" y="487479"/>
                  <a:pt x="82994" y="566854"/>
                </a:cubicBezTo>
                <a:cubicBezTo>
                  <a:pt x="106013" y="646229"/>
                  <a:pt x="115538" y="673216"/>
                  <a:pt x="140144" y="733541"/>
                </a:cubicBezTo>
                <a:cubicBezTo>
                  <a:pt x="164750" y="793866"/>
                  <a:pt x="191738" y="872448"/>
                  <a:pt x="230632" y="928804"/>
                </a:cubicBezTo>
                <a:cubicBezTo>
                  <a:pt x="269526" y="985160"/>
                  <a:pt x="317151" y="1022467"/>
                  <a:pt x="373507" y="1071679"/>
                </a:cubicBezTo>
                <a:cubicBezTo>
                  <a:pt x="429863" y="1120891"/>
                  <a:pt x="490982" y="1180423"/>
                  <a:pt x="568769" y="1224079"/>
                </a:cubicBezTo>
                <a:cubicBezTo>
                  <a:pt x="646557" y="1267735"/>
                  <a:pt x="720376" y="1306629"/>
                  <a:pt x="840232" y="1333616"/>
                </a:cubicBezTo>
                <a:cubicBezTo>
                  <a:pt x="960088" y="1360604"/>
                  <a:pt x="1106138" y="1387591"/>
                  <a:pt x="1287907" y="1386004"/>
                </a:cubicBezTo>
                <a:cubicBezTo>
                  <a:pt x="1469676" y="1384417"/>
                  <a:pt x="1718913" y="1372510"/>
                  <a:pt x="1930844" y="1324091"/>
                </a:cubicBezTo>
                <a:cubicBezTo>
                  <a:pt x="2142775" y="1275672"/>
                  <a:pt x="2386457" y="1183597"/>
                  <a:pt x="2559494" y="1095491"/>
                </a:cubicBezTo>
                <a:cubicBezTo>
                  <a:pt x="2732532" y="1007385"/>
                  <a:pt x="2786507" y="941504"/>
                  <a:pt x="2969069" y="795454"/>
                </a:cubicBezTo>
                <a:cubicBezTo>
                  <a:pt x="3151631" y="649404"/>
                  <a:pt x="3523107" y="329522"/>
                  <a:pt x="3654869" y="219191"/>
                </a:cubicBezTo>
                <a:cubicBezTo>
                  <a:pt x="3786631" y="108860"/>
                  <a:pt x="3724719" y="164422"/>
                  <a:pt x="3759644" y="133466"/>
                </a:cubicBezTo>
                <a:cubicBezTo>
                  <a:pt x="3794569" y="102510"/>
                  <a:pt x="3864419" y="33454"/>
                  <a:pt x="3864419" y="33454"/>
                </a:cubicBezTo>
                <a:cubicBezTo>
                  <a:pt x="3884263" y="14404"/>
                  <a:pt x="3878707" y="19166"/>
                  <a:pt x="3878707" y="19166"/>
                </a:cubicBezTo>
                <a:cubicBezTo>
                  <a:pt x="3881882" y="13610"/>
                  <a:pt x="3890613" y="-1472"/>
                  <a:pt x="3883469" y="116"/>
                </a:cubicBezTo>
                <a:cubicBezTo>
                  <a:pt x="3876325" y="1703"/>
                  <a:pt x="3855688" y="14404"/>
                  <a:pt x="3835844" y="28691"/>
                </a:cubicBezTo>
                <a:cubicBezTo>
                  <a:pt x="3816000" y="42978"/>
                  <a:pt x="3816794" y="48535"/>
                  <a:pt x="3764407" y="85841"/>
                </a:cubicBezTo>
                <a:cubicBezTo>
                  <a:pt x="3712020" y="123147"/>
                  <a:pt x="3646138" y="176329"/>
                  <a:pt x="3521519" y="252529"/>
                </a:cubicBezTo>
                <a:cubicBezTo>
                  <a:pt x="3396900" y="328729"/>
                  <a:pt x="3181000" y="451760"/>
                  <a:pt x="3016694" y="543041"/>
                </a:cubicBezTo>
                <a:cubicBezTo>
                  <a:pt x="2852388" y="634322"/>
                  <a:pt x="2719832" y="721635"/>
                  <a:pt x="2535682" y="800216"/>
                </a:cubicBezTo>
                <a:cubicBezTo>
                  <a:pt x="2351532" y="878797"/>
                  <a:pt x="2084038" y="970873"/>
                  <a:pt x="1911794" y="1014529"/>
                </a:cubicBezTo>
                <a:cubicBezTo>
                  <a:pt x="1739550" y="1058185"/>
                  <a:pt x="1648269" y="1057392"/>
                  <a:pt x="1502219" y="1062154"/>
                </a:cubicBezTo>
                <a:lnTo>
                  <a:pt x="1035494" y="1043104"/>
                </a:lnTo>
                <a:cubicBezTo>
                  <a:pt x="890238" y="1010560"/>
                  <a:pt x="748951" y="939916"/>
                  <a:pt x="630682" y="866891"/>
                </a:cubicBezTo>
                <a:cubicBezTo>
                  <a:pt x="512413" y="793866"/>
                  <a:pt x="402082" y="675598"/>
                  <a:pt x="325882" y="604954"/>
                </a:cubicBezTo>
                <a:cubicBezTo>
                  <a:pt x="249682" y="534310"/>
                  <a:pt x="223488" y="497004"/>
                  <a:pt x="173482" y="443029"/>
                </a:cubicBezTo>
                <a:cubicBezTo>
                  <a:pt x="123476" y="389054"/>
                  <a:pt x="17113" y="236654"/>
                  <a:pt x="2032" y="257291"/>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8" name="Freihandform 57"/>
          <p:cNvSpPr/>
          <p:nvPr/>
        </p:nvSpPr>
        <p:spPr>
          <a:xfrm>
            <a:off x="518061" y="-6396680"/>
            <a:ext cx="5098599" cy="8395525"/>
          </a:xfrm>
          <a:custGeom>
            <a:avLst/>
            <a:gdLst>
              <a:gd name="connsiteX0" fmla="*/ 2173384 w 2173384"/>
              <a:gd name="connsiteY0" fmla="*/ 0 h 3578765"/>
              <a:gd name="connsiteX1" fmla="*/ 1797146 w 2173384"/>
              <a:gd name="connsiteY1" fmla="*/ 314325 h 3578765"/>
              <a:gd name="connsiteX2" fmla="*/ 1211359 w 2173384"/>
              <a:gd name="connsiteY2" fmla="*/ 776287 h 3578765"/>
              <a:gd name="connsiteX3" fmla="*/ 687484 w 2173384"/>
              <a:gd name="connsiteY3" fmla="*/ 1233487 h 3578765"/>
              <a:gd name="connsiteX4" fmla="*/ 287434 w 2173384"/>
              <a:gd name="connsiteY4" fmla="*/ 1676400 h 3578765"/>
              <a:gd name="connsiteX5" fmla="*/ 44546 w 2173384"/>
              <a:gd name="connsiteY5" fmla="*/ 2176462 h 3578765"/>
              <a:gd name="connsiteX6" fmla="*/ 1684 w 2173384"/>
              <a:gd name="connsiteY6" fmla="*/ 2543175 h 3578765"/>
              <a:gd name="connsiteX7" fmla="*/ 68359 w 2173384"/>
              <a:gd name="connsiteY7" fmla="*/ 2890837 h 3578765"/>
              <a:gd name="connsiteX8" fmla="*/ 301721 w 2173384"/>
              <a:gd name="connsiteY8" fmla="*/ 3205162 h 3578765"/>
              <a:gd name="connsiteX9" fmla="*/ 611284 w 2173384"/>
              <a:gd name="connsiteY9" fmla="*/ 3495675 h 3578765"/>
              <a:gd name="connsiteX10" fmla="*/ 630334 w 2173384"/>
              <a:gd name="connsiteY10" fmla="*/ 3514725 h 3578765"/>
              <a:gd name="connsiteX11" fmla="*/ 658909 w 2173384"/>
              <a:gd name="connsiteY11" fmla="*/ 3543300 h 3578765"/>
              <a:gd name="connsiteX12" fmla="*/ 677959 w 2173384"/>
              <a:gd name="connsiteY12" fmla="*/ 3567112 h 3578765"/>
              <a:gd name="connsiteX13" fmla="*/ 701771 w 2173384"/>
              <a:gd name="connsiteY13" fmla="*/ 3571875 h 3578765"/>
              <a:gd name="connsiteX14" fmla="*/ 668434 w 2173384"/>
              <a:gd name="connsiteY14" fmla="*/ 3471862 h 3578765"/>
              <a:gd name="connsiteX15" fmla="*/ 544609 w 2173384"/>
              <a:gd name="connsiteY15" fmla="*/ 3176587 h 3578765"/>
              <a:gd name="connsiteX16" fmla="*/ 406496 w 2173384"/>
              <a:gd name="connsiteY16" fmla="*/ 2895600 h 3578765"/>
              <a:gd name="connsiteX17" fmla="*/ 349346 w 2173384"/>
              <a:gd name="connsiteY17" fmla="*/ 2686050 h 3578765"/>
              <a:gd name="connsiteX18" fmla="*/ 344584 w 2173384"/>
              <a:gd name="connsiteY18" fmla="*/ 2562225 h 3578765"/>
              <a:gd name="connsiteX19" fmla="*/ 439834 w 2173384"/>
              <a:gd name="connsiteY19" fmla="*/ 2190750 h 3578765"/>
              <a:gd name="connsiteX20" fmla="*/ 582709 w 2173384"/>
              <a:gd name="connsiteY20" fmla="*/ 1881187 h 3578765"/>
              <a:gd name="connsiteX21" fmla="*/ 725584 w 2173384"/>
              <a:gd name="connsiteY21" fmla="*/ 1624012 h 3578765"/>
              <a:gd name="connsiteX22" fmla="*/ 997046 w 2173384"/>
              <a:gd name="connsiteY22" fmla="*/ 1257300 h 3578765"/>
              <a:gd name="connsiteX23" fmla="*/ 1258984 w 2173384"/>
              <a:gd name="connsiteY23" fmla="*/ 971550 h 3578765"/>
              <a:gd name="connsiteX24" fmla="*/ 1587596 w 2173384"/>
              <a:gd name="connsiteY24" fmla="*/ 623887 h 3578765"/>
              <a:gd name="connsiteX25" fmla="*/ 2173384 w 2173384"/>
              <a:gd name="connsiteY25" fmla="*/ 0 h 357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73384" h="3578765">
                <a:moveTo>
                  <a:pt x="2173384" y="0"/>
                </a:moveTo>
                <a:cubicBezTo>
                  <a:pt x="2065434" y="92472"/>
                  <a:pt x="1957484" y="184944"/>
                  <a:pt x="1797146" y="314325"/>
                </a:cubicBezTo>
                <a:cubicBezTo>
                  <a:pt x="1636808" y="443706"/>
                  <a:pt x="1396303" y="623093"/>
                  <a:pt x="1211359" y="776287"/>
                </a:cubicBezTo>
                <a:cubicBezTo>
                  <a:pt x="1026415" y="929481"/>
                  <a:pt x="841471" y="1083468"/>
                  <a:pt x="687484" y="1233487"/>
                </a:cubicBezTo>
                <a:cubicBezTo>
                  <a:pt x="533497" y="1383506"/>
                  <a:pt x="394590" y="1519238"/>
                  <a:pt x="287434" y="1676400"/>
                </a:cubicBezTo>
                <a:cubicBezTo>
                  <a:pt x="180278" y="1833562"/>
                  <a:pt x="92171" y="2032000"/>
                  <a:pt x="44546" y="2176462"/>
                </a:cubicBezTo>
                <a:cubicBezTo>
                  <a:pt x="-3079" y="2320924"/>
                  <a:pt x="-2285" y="2424113"/>
                  <a:pt x="1684" y="2543175"/>
                </a:cubicBezTo>
                <a:cubicBezTo>
                  <a:pt x="5653" y="2662237"/>
                  <a:pt x="18353" y="2780506"/>
                  <a:pt x="68359" y="2890837"/>
                </a:cubicBezTo>
                <a:cubicBezTo>
                  <a:pt x="118365" y="3001168"/>
                  <a:pt x="211234" y="3104356"/>
                  <a:pt x="301721" y="3205162"/>
                </a:cubicBezTo>
                <a:cubicBezTo>
                  <a:pt x="392208" y="3305968"/>
                  <a:pt x="611284" y="3495675"/>
                  <a:pt x="611284" y="3495675"/>
                </a:cubicBezTo>
                <a:cubicBezTo>
                  <a:pt x="666053" y="3547269"/>
                  <a:pt x="630334" y="3514725"/>
                  <a:pt x="630334" y="3514725"/>
                </a:cubicBezTo>
                <a:cubicBezTo>
                  <a:pt x="638271" y="3522662"/>
                  <a:pt x="650972" y="3534569"/>
                  <a:pt x="658909" y="3543300"/>
                </a:cubicBezTo>
                <a:cubicBezTo>
                  <a:pt x="666846" y="3552031"/>
                  <a:pt x="670815" y="3562350"/>
                  <a:pt x="677959" y="3567112"/>
                </a:cubicBezTo>
                <a:cubicBezTo>
                  <a:pt x="685103" y="3571874"/>
                  <a:pt x="703358" y="3587750"/>
                  <a:pt x="701771" y="3571875"/>
                </a:cubicBezTo>
                <a:cubicBezTo>
                  <a:pt x="700183" y="3556000"/>
                  <a:pt x="694628" y="3537743"/>
                  <a:pt x="668434" y="3471862"/>
                </a:cubicBezTo>
                <a:cubicBezTo>
                  <a:pt x="642240" y="3405981"/>
                  <a:pt x="588265" y="3272631"/>
                  <a:pt x="544609" y="3176587"/>
                </a:cubicBezTo>
                <a:cubicBezTo>
                  <a:pt x="500953" y="3080543"/>
                  <a:pt x="439040" y="2977356"/>
                  <a:pt x="406496" y="2895600"/>
                </a:cubicBezTo>
                <a:cubicBezTo>
                  <a:pt x="373952" y="2813844"/>
                  <a:pt x="359665" y="2741612"/>
                  <a:pt x="349346" y="2686050"/>
                </a:cubicBezTo>
                <a:cubicBezTo>
                  <a:pt x="339027" y="2630488"/>
                  <a:pt x="329503" y="2644775"/>
                  <a:pt x="344584" y="2562225"/>
                </a:cubicBezTo>
                <a:cubicBezTo>
                  <a:pt x="359665" y="2479675"/>
                  <a:pt x="400146" y="2304256"/>
                  <a:pt x="439834" y="2190750"/>
                </a:cubicBezTo>
                <a:cubicBezTo>
                  <a:pt x="479521" y="2077244"/>
                  <a:pt x="535084" y="1975643"/>
                  <a:pt x="582709" y="1881187"/>
                </a:cubicBezTo>
                <a:cubicBezTo>
                  <a:pt x="630334" y="1786731"/>
                  <a:pt x="656528" y="1727993"/>
                  <a:pt x="725584" y="1624012"/>
                </a:cubicBezTo>
                <a:cubicBezTo>
                  <a:pt x="794640" y="1520031"/>
                  <a:pt x="908146" y="1366044"/>
                  <a:pt x="997046" y="1257300"/>
                </a:cubicBezTo>
                <a:cubicBezTo>
                  <a:pt x="1085946" y="1148556"/>
                  <a:pt x="1160559" y="1077119"/>
                  <a:pt x="1258984" y="971550"/>
                </a:cubicBezTo>
                <a:cubicBezTo>
                  <a:pt x="1357409" y="865981"/>
                  <a:pt x="1587596" y="623887"/>
                  <a:pt x="1587596" y="623887"/>
                </a:cubicBezTo>
                <a:lnTo>
                  <a:pt x="2173384" y="0"/>
                </a:ln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9" name="Freihandform 58"/>
          <p:cNvSpPr/>
          <p:nvPr/>
        </p:nvSpPr>
        <p:spPr>
          <a:xfrm>
            <a:off x="12245532" y="-22745624"/>
            <a:ext cx="4993397" cy="6760930"/>
          </a:xfrm>
          <a:custGeom>
            <a:avLst/>
            <a:gdLst>
              <a:gd name="connsiteX0" fmla="*/ 9898 w 2128539"/>
              <a:gd name="connsiteY0" fmla="*/ 1087387 h 2881986"/>
              <a:gd name="connsiteX1" fmla="*/ 2278 w 2128539"/>
              <a:gd name="connsiteY1" fmla="*/ 790207 h 2881986"/>
              <a:gd name="connsiteX2" fmla="*/ 32758 w 2128539"/>
              <a:gd name="connsiteY2" fmla="*/ 447307 h 2881986"/>
              <a:gd name="connsiteX3" fmla="*/ 139438 w 2128539"/>
              <a:gd name="connsiteY3" fmla="*/ 134887 h 2881986"/>
              <a:gd name="connsiteX4" fmla="*/ 284218 w 2128539"/>
              <a:gd name="connsiteY4" fmla="*/ 12967 h 2881986"/>
              <a:gd name="connsiteX5" fmla="*/ 390898 w 2128539"/>
              <a:gd name="connsiteY5" fmla="*/ 12967 h 2881986"/>
              <a:gd name="connsiteX6" fmla="*/ 520438 w 2128539"/>
              <a:gd name="connsiteY6" fmla="*/ 96787 h 2881986"/>
              <a:gd name="connsiteX7" fmla="*/ 665218 w 2128539"/>
              <a:gd name="connsiteY7" fmla="*/ 211087 h 2881986"/>
              <a:gd name="connsiteX8" fmla="*/ 779518 w 2128539"/>
              <a:gd name="connsiteY8" fmla="*/ 294907 h 2881986"/>
              <a:gd name="connsiteX9" fmla="*/ 1053838 w 2128539"/>
              <a:gd name="connsiteY9" fmla="*/ 599707 h 2881986"/>
              <a:gd name="connsiteX10" fmla="*/ 1236718 w 2128539"/>
              <a:gd name="connsiteY10" fmla="*/ 813067 h 2881986"/>
              <a:gd name="connsiteX11" fmla="*/ 1427218 w 2128539"/>
              <a:gd name="connsiteY11" fmla="*/ 1163587 h 2881986"/>
              <a:gd name="connsiteX12" fmla="*/ 1632958 w 2128539"/>
              <a:gd name="connsiteY12" fmla="*/ 1521727 h 2881986"/>
              <a:gd name="connsiteX13" fmla="*/ 1869178 w 2128539"/>
              <a:gd name="connsiteY13" fmla="*/ 2131327 h 2881986"/>
              <a:gd name="connsiteX14" fmla="*/ 1952998 w 2128539"/>
              <a:gd name="connsiteY14" fmla="*/ 2337067 h 2881986"/>
              <a:gd name="connsiteX15" fmla="*/ 2090158 w 2128539"/>
              <a:gd name="connsiteY15" fmla="*/ 2725687 h 2881986"/>
              <a:gd name="connsiteX16" fmla="*/ 2128258 w 2128539"/>
              <a:gd name="connsiteY16" fmla="*/ 2878087 h 2881986"/>
              <a:gd name="connsiteX17" fmla="*/ 2105398 w 2128539"/>
              <a:gd name="connsiteY17" fmla="*/ 2824747 h 2881986"/>
              <a:gd name="connsiteX18" fmla="*/ 2067298 w 2128539"/>
              <a:gd name="connsiteY18" fmla="*/ 2695207 h 2881986"/>
              <a:gd name="connsiteX19" fmla="*/ 1762498 w 2128539"/>
              <a:gd name="connsiteY19" fmla="*/ 2177047 h 2881986"/>
              <a:gd name="connsiteX20" fmla="*/ 1450078 w 2128539"/>
              <a:gd name="connsiteY20" fmla="*/ 1590307 h 2881986"/>
              <a:gd name="connsiteX21" fmla="*/ 1190998 w 2128539"/>
              <a:gd name="connsiteY21" fmla="*/ 1186447 h 2881986"/>
              <a:gd name="connsiteX22" fmla="*/ 878578 w 2128539"/>
              <a:gd name="connsiteY22" fmla="*/ 805447 h 2881986"/>
              <a:gd name="connsiteX23" fmla="*/ 695698 w 2128539"/>
              <a:gd name="connsiteY23" fmla="*/ 614947 h 2881986"/>
              <a:gd name="connsiteX24" fmla="*/ 611878 w 2128539"/>
              <a:gd name="connsiteY24" fmla="*/ 515887 h 2881986"/>
              <a:gd name="connsiteX25" fmla="*/ 482338 w 2128539"/>
              <a:gd name="connsiteY25" fmla="*/ 477787 h 2881986"/>
              <a:gd name="connsiteX26" fmla="*/ 390898 w 2128539"/>
              <a:gd name="connsiteY26" fmla="*/ 493027 h 2881986"/>
              <a:gd name="connsiteX27" fmla="*/ 345178 w 2128539"/>
              <a:gd name="connsiteY27" fmla="*/ 546367 h 2881986"/>
              <a:gd name="connsiteX28" fmla="*/ 261358 w 2128539"/>
              <a:gd name="connsiteY28" fmla="*/ 630187 h 2881986"/>
              <a:gd name="connsiteX29" fmla="*/ 185158 w 2128539"/>
              <a:gd name="connsiteY29" fmla="*/ 782587 h 2881986"/>
              <a:gd name="connsiteX30" fmla="*/ 70858 w 2128539"/>
              <a:gd name="connsiteY30" fmla="*/ 965467 h 2881986"/>
              <a:gd name="connsiteX31" fmla="*/ 9898 w 2128539"/>
              <a:gd name="connsiteY31" fmla="*/ 1087387 h 288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28539" h="2881986">
                <a:moveTo>
                  <a:pt x="9898" y="1087387"/>
                </a:moveTo>
                <a:cubicBezTo>
                  <a:pt x="-1532" y="1058177"/>
                  <a:pt x="-1532" y="896887"/>
                  <a:pt x="2278" y="790207"/>
                </a:cubicBezTo>
                <a:cubicBezTo>
                  <a:pt x="6088" y="683527"/>
                  <a:pt x="9898" y="556527"/>
                  <a:pt x="32758" y="447307"/>
                </a:cubicBezTo>
                <a:cubicBezTo>
                  <a:pt x="55618" y="338087"/>
                  <a:pt x="97528" y="207277"/>
                  <a:pt x="139438" y="134887"/>
                </a:cubicBezTo>
                <a:cubicBezTo>
                  <a:pt x="181348" y="62497"/>
                  <a:pt x="242308" y="33287"/>
                  <a:pt x="284218" y="12967"/>
                </a:cubicBezTo>
                <a:cubicBezTo>
                  <a:pt x="326128" y="-7353"/>
                  <a:pt x="351528" y="-1003"/>
                  <a:pt x="390898" y="12967"/>
                </a:cubicBezTo>
                <a:cubicBezTo>
                  <a:pt x="430268" y="26937"/>
                  <a:pt x="474718" y="63767"/>
                  <a:pt x="520438" y="96787"/>
                </a:cubicBezTo>
                <a:cubicBezTo>
                  <a:pt x="566158" y="129807"/>
                  <a:pt x="622038" y="178067"/>
                  <a:pt x="665218" y="211087"/>
                </a:cubicBezTo>
                <a:cubicBezTo>
                  <a:pt x="708398" y="244107"/>
                  <a:pt x="714748" y="230137"/>
                  <a:pt x="779518" y="294907"/>
                </a:cubicBezTo>
                <a:cubicBezTo>
                  <a:pt x="844288" y="359677"/>
                  <a:pt x="977638" y="513347"/>
                  <a:pt x="1053838" y="599707"/>
                </a:cubicBezTo>
                <a:cubicBezTo>
                  <a:pt x="1130038" y="686067"/>
                  <a:pt x="1174488" y="719087"/>
                  <a:pt x="1236718" y="813067"/>
                </a:cubicBezTo>
                <a:cubicBezTo>
                  <a:pt x="1298948" y="907047"/>
                  <a:pt x="1361178" y="1045477"/>
                  <a:pt x="1427218" y="1163587"/>
                </a:cubicBezTo>
                <a:cubicBezTo>
                  <a:pt x="1493258" y="1281697"/>
                  <a:pt x="1559298" y="1360437"/>
                  <a:pt x="1632958" y="1521727"/>
                </a:cubicBezTo>
                <a:cubicBezTo>
                  <a:pt x="1706618" y="1683017"/>
                  <a:pt x="1815838" y="1995437"/>
                  <a:pt x="1869178" y="2131327"/>
                </a:cubicBezTo>
                <a:cubicBezTo>
                  <a:pt x="1922518" y="2267217"/>
                  <a:pt x="1916168" y="2238007"/>
                  <a:pt x="1952998" y="2337067"/>
                </a:cubicBezTo>
                <a:cubicBezTo>
                  <a:pt x="1989828" y="2436127"/>
                  <a:pt x="2060948" y="2635517"/>
                  <a:pt x="2090158" y="2725687"/>
                </a:cubicBezTo>
                <a:cubicBezTo>
                  <a:pt x="2119368" y="2815857"/>
                  <a:pt x="2125718" y="2861577"/>
                  <a:pt x="2128258" y="2878087"/>
                </a:cubicBezTo>
                <a:cubicBezTo>
                  <a:pt x="2130798" y="2894597"/>
                  <a:pt x="2115558" y="2855227"/>
                  <a:pt x="2105398" y="2824747"/>
                </a:cubicBezTo>
                <a:cubicBezTo>
                  <a:pt x="2095238" y="2794267"/>
                  <a:pt x="2124448" y="2803157"/>
                  <a:pt x="2067298" y="2695207"/>
                </a:cubicBezTo>
                <a:cubicBezTo>
                  <a:pt x="2010148" y="2587257"/>
                  <a:pt x="1865368" y="2361197"/>
                  <a:pt x="1762498" y="2177047"/>
                </a:cubicBezTo>
                <a:cubicBezTo>
                  <a:pt x="1659628" y="1992897"/>
                  <a:pt x="1545328" y="1755407"/>
                  <a:pt x="1450078" y="1590307"/>
                </a:cubicBezTo>
                <a:cubicBezTo>
                  <a:pt x="1354828" y="1425207"/>
                  <a:pt x="1286248" y="1317257"/>
                  <a:pt x="1190998" y="1186447"/>
                </a:cubicBezTo>
                <a:cubicBezTo>
                  <a:pt x="1095748" y="1055637"/>
                  <a:pt x="961128" y="900697"/>
                  <a:pt x="878578" y="805447"/>
                </a:cubicBezTo>
                <a:cubicBezTo>
                  <a:pt x="796028" y="710197"/>
                  <a:pt x="740148" y="663207"/>
                  <a:pt x="695698" y="614947"/>
                </a:cubicBezTo>
                <a:cubicBezTo>
                  <a:pt x="651248" y="566687"/>
                  <a:pt x="647438" y="538747"/>
                  <a:pt x="611878" y="515887"/>
                </a:cubicBezTo>
                <a:cubicBezTo>
                  <a:pt x="576318" y="493027"/>
                  <a:pt x="519168" y="481597"/>
                  <a:pt x="482338" y="477787"/>
                </a:cubicBezTo>
                <a:cubicBezTo>
                  <a:pt x="445508" y="473977"/>
                  <a:pt x="413758" y="481597"/>
                  <a:pt x="390898" y="493027"/>
                </a:cubicBezTo>
                <a:cubicBezTo>
                  <a:pt x="368038" y="504457"/>
                  <a:pt x="366768" y="523507"/>
                  <a:pt x="345178" y="546367"/>
                </a:cubicBezTo>
                <a:cubicBezTo>
                  <a:pt x="323588" y="569227"/>
                  <a:pt x="288028" y="590817"/>
                  <a:pt x="261358" y="630187"/>
                </a:cubicBezTo>
                <a:cubicBezTo>
                  <a:pt x="234688" y="669557"/>
                  <a:pt x="216908" y="726707"/>
                  <a:pt x="185158" y="782587"/>
                </a:cubicBezTo>
                <a:cubicBezTo>
                  <a:pt x="153408" y="838467"/>
                  <a:pt x="97528" y="919747"/>
                  <a:pt x="70858" y="965467"/>
                </a:cubicBezTo>
                <a:cubicBezTo>
                  <a:pt x="44188" y="1011187"/>
                  <a:pt x="21328" y="1116597"/>
                  <a:pt x="9898" y="1087387"/>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0" name="Freihandform 59"/>
          <p:cNvSpPr/>
          <p:nvPr/>
        </p:nvSpPr>
        <p:spPr>
          <a:xfrm>
            <a:off x="5939127" y="-20201574"/>
            <a:ext cx="6303927" cy="13503253"/>
          </a:xfrm>
          <a:custGeom>
            <a:avLst/>
            <a:gdLst>
              <a:gd name="connsiteX0" fmla="*/ 653 w 2687179"/>
              <a:gd name="connsiteY0" fmla="*/ 5756032 h 5756040"/>
              <a:gd name="connsiteX1" fmla="*/ 229253 w 2687179"/>
              <a:gd name="connsiteY1" fmla="*/ 5489332 h 5756040"/>
              <a:gd name="connsiteX2" fmla="*/ 595013 w 2687179"/>
              <a:gd name="connsiteY2" fmla="*/ 5016892 h 5756040"/>
              <a:gd name="connsiteX3" fmla="*/ 998873 w 2687179"/>
              <a:gd name="connsiteY3" fmla="*/ 4453012 h 5756040"/>
              <a:gd name="connsiteX4" fmla="*/ 1326533 w 2687179"/>
              <a:gd name="connsiteY4" fmla="*/ 3927232 h 5756040"/>
              <a:gd name="connsiteX5" fmla="*/ 1654193 w 2687179"/>
              <a:gd name="connsiteY5" fmla="*/ 3317632 h 5756040"/>
              <a:gd name="connsiteX6" fmla="*/ 1928513 w 2687179"/>
              <a:gd name="connsiteY6" fmla="*/ 2639452 h 5756040"/>
              <a:gd name="connsiteX7" fmla="*/ 2202833 w 2687179"/>
              <a:gd name="connsiteY7" fmla="*/ 1488832 h 5756040"/>
              <a:gd name="connsiteX8" fmla="*/ 2309513 w 2687179"/>
              <a:gd name="connsiteY8" fmla="*/ 909712 h 5756040"/>
              <a:gd name="connsiteX9" fmla="*/ 2400953 w 2687179"/>
              <a:gd name="connsiteY9" fmla="*/ 513472 h 5756040"/>
              <a:gd name="connsiteX10" fmla="*/ 2446673 w 2687179"/>
              <a:gd name="connsiteY10" fmla="*/ 269632 h 5756040"/>
              <a:gd name="connsiteX11" fmla="*/ 2507633 w 2687179"/>
              <a:gd name="connsiteY11" fmla="*/ 140092 h 5756040"/>
              <a:gd name="connsiteX12" fmla="*/ 2560973 w 2687179"/>
              <a:gd name="connsiteY12" fmla="*/ 63892 h 5756040"/>
              <a:gd name="connsiteX13" fmla="*/ 2591453 w 2687179"/>
              <a:gd name="connsiteY13" fmla="*/ 18172 h 5756040"/>
              <a:gd name="connsiteX14" fmla="*/ 2621933 w 2687179"/>
              <a:gd name="connsiteY14" fmla="*/ 2932 h 5756040"/>
              <a:gd name="connsiteX15" fmla="*/ 2629553 w 2687179"/>
              <a:gd name="connsiteY15" fmla="*/ 2932 h 5756040"/>
              <a:gd name="connsiteX16" fmla="*/ 2682893 w 2687179"/>
              <a:gd name="connsiteY16" fmla="*/ 33412 h 5756040"/>
              <a:gd name="connsiteX17" fmla="*/ 2675273 w 2687179"/>
              <a:gd name="connsiteY17" fmla="*/ 79132 h 5756040"/>
              <a:gd name="connsiteX18" fmla="*/ 2606693 w 2687179"/>
              <a:gd name="connsiteY18" fmla="*/ 383932 h 5756040"/>
              <a:gd name="connsiteX19" fmla="*/ 2522873 w 2687179"/>
              <a:gd name="connsiteY19" fmla="*/ 848752 h 5756040"/>
              <a:gd name="connsiteX20" fmla="*/ 2439053 w 2687179"/>
              <a:gd name="connsiteY20" fmla="*/ 1260232 h 5756040"/>
              <a:gd name="connsiteX21" fmla="*/ 2362853 w 2687179"/>
              <a:gd name="connsiteY21" fmla="*/ 1603132 h 5756040"/>
              <a:gd name="connsiteX22" fmla="*/ 2195213 w 2687179"/>
              <a:gd name="connsiteY22" fmla="*/ 2357512 h 5756040"/>
              <a:gd name="connsiteX23" fmla="*/ 1936133 w 2687179"/>
              <a:gd name="connsiteY23" fmla="*/ 3058552 h 5756040"/>
              <a:gd name="connsiteX24" fmla="*/ 1669433 w 2687179"/>
              <a:gd name="connsiteY24" fmla="*/ 3622432 h 5756040"/>
              <a:gd name="connsiteX25" fmla="*/ 1288433 w 2687179"/>
              <a:gd name="connsiteY25" fmla="*/ 4247272 h 5756040"/>
              <a:gd name="connsiteX26" fmla="*/ 983633 w 2687179"/>
              <a:gd name="connsiteY26" fmla="*/ 4635892 h 5756040"/>
              <a:gd name="connsiteX27" fmla="*/ 617873 w 2687179"/>
              <a:gd name="connsiteY27" fmla="*/ 5115952 h 5756040"/>
              <a:gd name="connsiteX28" fmla="*/ 297833 w 2687179"/>
              <a:gd name="connsiteY28" fmla="*/ 5496952 h 5756040"/>
              <a:gd name="connsiteX29" fmla="*/ 653 w 2687179"/>
              <a:gd name="connsiteY29" fmla="*/ 5756032 h 575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7179" h="5756040">
                <a:moveTo>
                  <a:pt x="653" y="5756032"/>
                </a:moveTo>
                <a:cubicBezTo>
                  <a:pt x="-10777" y="5754762"/>
                  <a:pt x="130193" y="5612522"/>
                  <a:pt x="229253" y="5489332"/>
                </a:cubicBezTo>
                <a:cubicBezTo>
                  <a:pt x="328313" y="5366142"/>
                  <a:pt x="466743" y="5189612"/>
                  <a:pt x="595013" y="5016892"/>
                </a:cubicBezTo>
                <a:cubicBezTo>
                  <a:pt x="723283" y="4844172"/>
                  <a:pt x="876953" y="4634622"/>
                  <a:pt x="998873" y="4453012"/>
                </a:cubicBezTo>
                <a:cubicBezTo>
                  <a:pt x="1120793" y="4271402"/>
                  <a:pt x="1217313" y="4116462"/>
                  <a:pt x="1326533" y="3927232"/>
                </a:cubicBezTo>
                <a:cubicBezTo>
                  <a:pt x="1435753" y="3738002"/>
                  <a:pt x="1553863" y="3532262"/>
                  <a:pt x="1654193" y="3317632"/>
                </a:cubicBezTo>
                <a:cubicBezTo>
                  <a:pt x="1754523" y="3103002"/>
                  <a:pt x="1837073" y="2944252"/>
                  <a:pt x="1928513" y="2639452"/>
                </a:cubicBezTo>
                <a:cubicBezTo>
                  <a:pt x="2019953" y="2334652"/>
                  <a:pt x="2139333" y="1777122"/>
                  <a:pt x="2202833" y="1488832"/>
                </a:cubicBezTo>
                <a:cubicBezTo>
                  <a:pt x="2266333" y="1200542"/>
                  <a:pt x="2276493" y="1072272"/>
                  <a:pt x="2309513" y="909712"/>
                </a:cubicBezTo>
                <a:cubicBezTo>
                  <a:pt x="2342533" y="747152"/>
                  <a:pt x="2378093" y="620152"/>
                  <a:pt x="2400953" y="513472"/>
                </a:cubicBezTo>
                <a:cubicBezTo>
                  <a:pt x="2423813" y="406792"/>
                  <a:pt x="2428893" y="331862"/>
                  <a:pt x="2446673" y="269632"/>
                </a:cubicBezTo>
                <a:cubicBezTo>
                  <a:pt x="2464453" y="207402"/>
                  <a:pt x="2488583" y="174382"/>
                  <a:pt x="2507633" y="140092"/>
                </a:cubicBezTo>
                <a:cubicBezTo>
                  <a:pt x="2526683" y="105802"/>
                  <a:pt x="2547003" y="84212"/>
                  <a:pt x="2560973" y="63892"/>
                </a:cubicBezTo>
                <a:cubicBezTo>
                  <a:pt x="2574943" y="43572"/>
                  <a:pt x="2591453" y="18172"/>
                  <a:pt x="2591453" y="18172"/>
                </a:cubicBezTo>
                <a:cubicBezTo>
                  <a:pt x="2601613" y="8012"/>
                  <a:pt x="2621933" y="2932"/>
                  <a:pt x="2621933" y="2932"/>
                </a:cubicBezTo>
                <a:cubicBezTo>
                  <a:pt x="2628283" y="392"/>
                  <a:pt x="2619393" y="-2148"/>
                  <a:pt x="2629553" y="2932"/>
                </a:cubicBezTo>
                <a:cubicBezTo>
                  <a:pt x="2639713" y="8012"/>
                  <a:pt x="2675273" y="20712"/>
                  <a:pt x="2682893" y="33412"/>
                </a:cubicBezTo>
                <a:cubicBezTo>
                  <a:pt x="2690513" y="46112"/>
                  <a:pt x="2687973" y="20712"/>
                  <a:pt x="2675273" y="79132"/>
                </a:cubicBezTo>
                <a:cubicBezTo>
                  <a:pt x="2662573" y="137552"/>
                  <a:pt x="2632093" y="255662"/>
                  <a:pt x="2606693" y="383932"/>
                </a:cubicBezTo>
                <a:cubicBezTo>
                  <a:pt x="2581293" y="512202"/>
                  <a:pt x="2550813" y="702702"/>
                  <a:pt x="2522873" y="848752"/>
                </a:cubicBezTo>
                <a:cubicBezTo>
                  <a:pt x="2494933" y="994802"/>
                  <a:pt x="2465723" y="1134502"/>
                  <a:pt x="2439053" y="1260232"/>
                </a:cubicBezTo>
                <a:cubicBezTo>
                  <a:pt x="2412383" y="1385962"/>
                  <a:pt x="2362853" y="1603132"/>
                  <a:pt x="2362853" y="1603132"/>
                </a:cubicBezTo>
                <a:cubicBezTo>
                  <a:pt x="2322213" y="1786012"/>
                  <a:pt x="2266333" y="2114942"/>
                  <a:pt x="2195213" y="2357512"/>
                </a:cubicBezTo>
                <a:cubicBezTo>
                  <a:pt x="2124093" y="2600082"/>
                  <a:pt x="2023763" y="2847732"/>
                  <a:pt x="1936133" y="3058552"/>
                </a:cubicBezTo>
                <a:cubicBezTo>
                  <a:pt x="1848503" y="3269372"/>
                  <a:pt x="1777383" y="3424312"/>
                  <a:pt x="1669433" y="3622432"/>
                </a:cubicBezTo>
                <a:cubicBezTo>
                  <a:pt x="1561483" y="3820552"/>
                  <a:pt x="1402733" y="4078362"/>
                  <a:pt x="1288433" y="4247272"/>
                </a:cubicBezTo>
                <a:cubicBezTo>
                  <a:pt x="1174133" y="4416182"/>
                  <a:pt x="1095393" y="4491112"/>
                  <a:pt x="983633" y="4635892"/>
                </a:cubicBezTo>
                <a:cubicBezTo>
                  <a:pt x="871873" y="4780672"/>
                  <a:pt x="732173" y="4972442"/>
                  <a:pt x="617873" y="5115952"/>
                </a:cubicBezTo>
                <a:cubicBezTo>
                  <a:pt x="503573" y="5259462"/>
                  <a:pt x="399433" y="5383922"/>
                  <a:pt x="297833" y="5496952"/>
                </a:cubicBezTo>
                <a:cubicBezTo>
                  <a:pt x="196233" y="5609982"/>
                  <a:pt x="12083" y="5757302"/>
                  <a:pt x="653" y="5756032"/>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1" name="Freihandform 60"/>
          <p:cNvSpPr/>
          <p:nvPr/>
        </p:nvSpPr>
        <p:spPr>
          <a:xfrm>
            <a:off x="11773577" y="-15458912"/>
            <a:ext cx="6583710" cy="16501717"/>
          </a:xfrm>
          <a:custGeom>
            <a:avLst/>
            <a:gdLst>
              <a:gd name="connsiteX0" fmla="*/ 2428498 w 2806443"/>
              <a:gd name="connsiteY0" fmla="*/ 575 h 7034198"/>
              <a:gd name="connsiteX1" fmla="*/ 2628523 w 2806443"/>
              <a:gd name="connsiteY1" fmla="*/ 734000 h 7034198"/>
              <a:gd name="connsiteX2" fmla="*/ 2790448 w 2806443"/>
              <a:gd name="connsiteY2" fmla="*/ 1524575 h 7034198"/>
              <a:gd name="connsiteX3" fmla="*/ 2771398 w 2806443"/>
              <a:gd name="connsiteY3" fmla="*/ 2258000 h 7034198"/>
              <a:gd name="connsiteX4" fmla="*/ 2533273 w 2806443"/>
              <a:gd name="connsiteY4" fmla="*/ 3448625 h 7034198"/>
              <a:gd name="connsiteX5" fmla="*/ 2104648 w 2806443"/>
              <a:gd name="connsiteY5" fmla="*/ 4458275 h 7034198"/>
              <a:gd name="connsiteX6" fmla="*/ 1485523 w 2806443"/>
              <a:gd name="connsiteY6" fmla="*/ 5544125 h 7034198"/>
              <a:gd name="connsiteX7" fmla="*/ 780673 w 2806443"/>
              <a:gd name="connsiteY7" fmla="*/ 6391850 h 7034198"/>
              <a:gd name="connsiteX8" fmla="*/ 304423 w 2806443"/>
              <a:gd name="connsiteY8" fmla="*/ 6810950 h 7034198"/>
              <a:gd name="connsiteX9" fmla="*/ 28198 w 2806443"/>
              <a:gd name="connsiteY9" fmla="*/ 7010975 h 7034198"/>
              <a:gd name="connsiteX10" fmla="*/ 9148 w 2806443"/>
              <a:gd name="connsiteY10" fmla="*/ 7030025 h 7034198"/>
              <a:gd name="connsiteX11" fmla="*/ 371098 w 2806443"/>
              <a:gd name="connsiteY11" fmla="*/ 6677600 h 7034198"/>
              <a:gd name="connsiteX12" fmla="*/ 675898 w 2806443"/>
              <a:gd name="connsiteY12" fmla="*/ 6306125 h 7034198"/>
              <a:gd name="connsiteX13" fmla="*/ 1218823 w 2806443"/>
              <a:gd name="connsiteY13" fmla="*/ 5601275 h 7034198"/>
              <a:gd name="connsiteX14" fmla="*/ 1818898 w 2806443"/>
              <a:gd name="connsiteY14" fmla="*/ 4705925 h 7034198"/>
              <a:gd name="connsiteX15" fmla="*/ 2295148 w 2806443"/>
              <a:gd name="connsiteY15" fmla="*/ 3601025 h 7034198"/>
              <a:gd name="connsiteX16" fmla="*/ 2580898 w 2806443"/>
              <a:gd name="connsiteY16" fmla="*/ 2562800 h 7034198"/>
              <a:gd name="connsiteX17" fmla="*/ 2628523 w 2806443"/>
              <a:gd name="connsiteY17" fmla="*/ 2048450 h 7034198"/>
              <a:gd name="connsiteX18" fmla="*/ 2552323 w 2806443"/>
              <a:gd name="connsiteY18" fmla="*/ 1067375 h 7034198"/>
              <a:gd name="connsiteX19" fmla="*/ 2504698 w 2806443"/>
              <a:gd name="connsiteY19" fmla="*/ 619700 h 7034198"/>
              <a:gd name="connsiteX20" fmla="*/ 2428498 w 2806443"/>
              <a:gd name="connsiteY20" fmla="*/ 575 h 703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06443" h="7034198">
                <a:moveTo>
                  <a:pt x="2428498" y="575"/>
                </a:moveTo>
                <a:cubicBezTo>
                  <a:pt x="2449135" y="19625"/>
                  <a:pt x="2568198" y="480000"/>
                  <a:pt x="2628523" y="734000"/>
                </a:cubicBezTo>
                <a:cubicBezTo>
                  <a:pt x="2688848" y="988000"/>
                  <a:pt x="2766636" y="1270575"/>
                  <a:pt x="2790448" y="1524575"/>
                </a:cubicBezTo>
                <a:cubicBezTo>
                  <a:pt x="2814260" y="1778575"/>
                  <a:pt x="2814260" y="1937325"/>
                  <a:pt x="2771398" y="2258000"/>
                </a:cubicBezTo>
                <a:cubicBezTo>
                  <a:pt x="2728536" y="2578675"/>
                  <a:pt x="2644398" y="3081913"/>
                  <a:pt x="2533273" y="3448625"/>
                </a:cubicBezTo>
                <a:cubicBezTo>
                  <a:pt x="2422148" y="3815338"/>
                  <a:pt x="2279273" y="4109025"/>
                  <a:pt x="2104648" y="4458275"/>
                </a:cubicBezTo>
                <a:cubicBezTo>
                  <a:pt x="1930023" y="4807525"/>
                  <a:pt x="1706185" y="5221863"/>
                  <a:pt x="1485523" y="5544125"/>
                </a:cubicBezTo>
                <a:cubicBezTo>
                  <a:pt x="1264861" y="5866387"/>
                  <a:pt x="977523" y="6180713"/>
                  <a:pt x="780673" y="6391850"/>
                </a:cubicBezTo>
                <a:cubicBezTo>
                  <a:pt x="583823" y="6602987"/>
                  <a:pt x="429835" y="6707763"/>
                  <a:pt x="304423" y="6810950"/>
                </a:cubicBezTo>
                <a:cubicBezTo>
                  <a:pt x="179011" y="6914137"/>
                  <a:pt x="28198" y="7010975"/>
                  <a:pt x="28198" y="7010975"/>
                </a:cubicBezTo>
                <a:cubicBezTo>
                  <a:pt x="-21015" y="7047488"/>
                  <a:pt x="9148" y="7030025"/>
                  <a:pt x="9148" y="7030025"/>
                </a:cubicBezTo>
                <a:cubicBezTo>
                  <a:pt x="66298" y="6974463"/>
                  <a:pt x="259973" y="6798250"/>
                  <a:pt x="371098" y="6677600"/>
                </a:cubicBezTo>
                <a:cubicBezTo>
                  <a:pt x="482223" y="6556950"/>
                  <a:pt x="534610" y="6485513"/>
                  <a:pt x="675898" y="6306125"/>
                </a:cubicBezTo>
                <a:cubicBezTo>
                  <a:pt x="817185" y="6126738"/>
                  <a:pt x="1028323" y="5867975"/>
                  <a:pt x="1218823" y="5601275"/>
                </a:cubicBezTo>
                <a:cubicBezTo>
                  <a:pt x="1409323" y="5334575"/>
                  <a:pt x="1639510" y="5039300"/>
                  <a:pt x="1818898" y="4705925"/>
                </a:cubicBezTo>
                <a:cubicBezTo>
                  <a:pt x="1998286" y="4372550"/>
                  <a:pt x="2168148" y="3958213"/>
                  <a:pt x="2295148" y="3601025"/>
                </a:cubicBezTo>
                <a:cubicBezTo>
                  <a:pt x="2422148" y="3243837"/>
                  <a:pt x="2525336" y="2821563"/>
                  <a:pt x="2580898" y="2562800"/>
                </a:cubicBezTo>
                <a:cubicBezTo>
                  <a:pt x="2636461" y="2304038"/>
                  <a:pt x="2633285" y="2297687"/>
                  <a:pt x="2628523" y="2048450"/>
                </a:cubicBezTo>
                <a:cubicBezTo>
                  <a:pt x="2623761" y="1799213"/>
                  <a:pt x="2572961" y="1305500"/>
                  <a:pt x="2552323" y="1067375"/>
                </a:cubicBezTo>
                <a:cubicBezTo>
                  <a:pt x="2531686" y="829250"/>
                  <a:pt x="2528511" y="799088"/>
                  <a:pt x="2504698" y="619700"/>
                </a:cubicBezTo>
                <a:cubicBezTo>
                  <a:pt x="2480886" y="440313"/>
                  <a:pt x="2407861" y="-18475"/>
                  <a:pt x="2428498" y="575"/>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2" name="Freihandform 61"/>
          <p:cNvSpPr/>
          <p:nvPr/>
        </p:nvSpPr>
        <p:spPr>
          <a:xfrm>
            <a:off x="553321" y="-22820775"/>
            <a:ext cx="17842070" cy="27494505"/>
          </a:xfrm>
          <a:custGeom>
            <a:avLst/>
            <a:gdLst>
              <a:gd name="connsiteX0" fmla="*/ 2548526 w 3864834"/>
              <a:gd name="connsiteY0" fmla="*/ 254314 h 5955683"/>
              <a:gd name="connsiteX1" fmla="*/ 2548526 w 3864834"/>
              <a:gd name="connsiteY1" fmla="*/ 566734 h 5955683"/>
              <a:gd name="connsiteX2" fmla="*/ 2540906 w 3864834"/>
              <a:gd name="connsiteY2" fmla="*/ 848674 h 5955683"/>
              <a:gd name="connsiteX3" fmla="*/ 2396126 w 3864834"/>
              <a:gd name="connsiteY3" fmla="*/ 1763074 h 5955683"/>
              <a:gd name="connsiteX4" fmla="*/ 2015126 w 3864834"/>
              <a:gd name="connsiteY4" fmla="*/ 2578414 h 5955683"/>
              <a:gd name="connsiteX5" fmla="*/ 1496966 w 3864834"/>
              <a:gd name="connsiteY5" fmla="*/ 3203254 h 5955683"/>
              <a:gd name="connsiteX6" fmla="*/ 1093106 w 3864834"/>
              <a:gd name="connsiteY6" fmla="*/ 3584254 h 5955683"/>
              <a:gd name="connsiteX7" fmla="*/ 529226 w 3864834"/>
              <a:gd name="connsiteY7" fmla="*/ 4026214 h 5955683"/>
              <a:gd name="connsiteX8" fmla="*/ 155846 w 3864834"/>
              <a:gd name="connsiteY8" fmla="*/ 4399594 h 5955683"/>
              <a:gd name="connsiteX9" fmla="*/ 26306 w 3864834"/>
              <a:gd name="connsiteY9" fmla="*/ 4673914 h 5955683"/>
              <a:gd name="connsiteX10" fmla="*/ 33926 w 3864834"/>
              <a:gd name="connsiteY10" fmla="*/ 5016814 h 5955683"/>
              <a:gd name="connsiteX11" fmla="*/ 376826 w 3864834"/>
              <a:gd name="connsiteY11" fmla="*/ 5374954 h 5955683"/>
              <a:gd name="connsiteX12" fmla="*/ 986426 w 3864834"/>
              <a:gd name="connsiteY12" fmla="*/ 5565454 h 5955683"/>
              <a:gd name="connsiteX13" fmla="*/ 1588406 w 3864834"/>
              <a:gd name="connsiteY13" fmla="*/ 5557834 h 5955683"/>
              <a:gd name="connsiteX14" fmla="*/ 2396126 w 3864834"/>
              <a:gd name="connsiteY14" fmla="*/ 5184454 h 5955683"/>
              <a:gd name="connsiteX15" fmla="*/ 2906666 w 3864834"/>
              <a:gd name="connsiteY15" fmla="*/ 4750114 h 5955683"/>
              <a:gd name="connsiteX16" fmla="*/ 3561986 w 3864834"/>
              <a:gd name="connsiteY16" fmla="*/ 3744274 h 5955683"/>
              <a:gd name="connsiteX17" fmla="*/ 3843926 w 3864834"/>
              <a:gd name="connsiteY17" fmla="*/ 2883214 h 5955683"/>
              <a:gd name="connsiteX18" fmla="*/ 3821066 w 3864834"/>
              <a:gd name="connsiteY18" fmla="*/ 2113594 h 5955683"/>
              <a:gd name="connsiteX19" fmla="*/ 3638186 w 3864834"/>
              <a:gd name="connsiteY19" fmla="*/ 1496374 h 5955683"/>
              <a:gd name="connsiteX20" fmla="*/ 3173366 w 3864834"/>
              <a:gd name="connsiteY20" fmla="*/ 856294 h 5955683"/>
              <a:gd name="connsiteX21" fmla="*/ 2784746 w 3864834"/>
              <a:gd name="connsiteY21" fmla="*/ 612454 h 5955683"/>
              <a:gd name="connsiteX22" fmla="*/ 2518046 w 3864834"/>
              <a:gd name="connsiteY22" fmla="*/ 574354 h 5955683"/>
              <a:gd name="connsiteX23" fmla="*/ 2457086 w 3864834"/>
              <a:gd name="connsiteY23" fmla="*/ 627694 h 5955683"/>
              <a:gd name="connsiteX24" fmla="*/ 2426606 w 3864834"/>
              <a:gd name="connsiteY24" fmla="*/ 749614 h 5955683"/>
              <a:gd name="connsiteX25" fmla="*/ 2335166 w 3864834"/>
              <a:gd name="connsiteY25" fmla="*/ 1161094 h 5955683"/>
              <a:gd name="connsiteX26" fmla="*/ 2152286 w 3864834"/>
              <a:gd name="connsiteY26" fmla="*/ 1923094 h 5955683"/>
              <a:gd name="connsiteX27" fmla="*/ 1824626 w 3864834"/>
              <a:gd name="connsiteY27" fmla="*/ 2616514 h 5955683"/>
              <a:gd name="connsiteX28" fmla="*/ 1138826 w 3864834"/>
              <a:gd name="connsiteY28" fmla="*/ 3546154 h 5955683"/>
              <a:gd name="connsiteX29" fmla="*/ 757826 w 3864834"/>
              <a:gd name="connsiteY29" fmla="*/ 4033834 h 5955683"/>
              <a:gd name="connsiteX30" fmla="*/ 498746 w 3864834"/>
              <a:gd name="connsiteY30" fmla="*/ 4506274 h 5955683"/>
              <a:gd name="connsiteX31" fmla="*/ 361586 w 3864834"/>
              <a:gd name="connsiteY31" fmla="*/ 5032054 h 5955683"/>
              <a:gd name="connsiteX32" fmla="*/ 376826 w 3864834"/>
              <a:gd name="connsiteY32" fmla="*/ 5390194 h 5955683"/>
              <a:gd name="connsiteX33" fmla="*/ 475886 w 3864834"/>
              <a:gd name="connsiteY33" fmla="*/ 5702614 h 5955683"/>
              <a:gd name="connsiteX34" fmla="*/ 719726 w 3864834"/>
              <a:gd name="connsiteY34" fmla="*/ 5893114 h 5955683"/>
              <a:gd name="connsiteX35" fmla="*/ 1184546 w 3864834"/>
              <a:gd name="connsiteY35" fmla="*/ 5946454 h 5955683"/>
              <a:gd name="connsiteX36" fmla="*/ 1778906 w 3864834"/>
              <a:gd name="connsiteY36" fmla="*/ 5725474 h 5955683"/>
              <a:gd name="connsiteX37" fmla="*/ 2335166 w 3864834"/>
              <a:gd name="connsiteY37" fmla="*/ 5253034 h 5955683"/>
              <a:gd name="connsiteX38" fmla="*/ 2678066 w 3864834"/>
              <a:gd name="connsiteY38" fmla="*/ 4872034 h 5955683"/>
              <a:gd name="connsiteX39" fmla="*/ 3158126 w 3864834"/>
              <a:gd name="connsiteY39" fmla="*/ 4148134 h 5955683"/>
              <a:gd name="connsiteX40" fmla="*/ 3424826 w 3864834"/>
              <a:gd name="connsiteY40" fmla="*/ 3614734 h 5955683"/>
              <a:gd name="connsiteX41" fmla="*/ 3569606 w 3864834"/>
              <a:gd name="connsiteY41" fmla="*/ 3180394 h 5955683"/>
              <a:gd name="connsiteX42" fmla="*/ 3676286 w 3864834"/>
              <a:gd name="connsiteY42" fmla="*/ 2479354 h 5955683"/>
              <a:gd name="connsiteX43" fmla="*/ 3683906 w 3864834"/>
              <a:gd name="connsiteY43" fmla="*/ 1679254 h 5955683"/>
              <a:gd name="connsiteX44" fmla="*/ 3531506 w 3864834"/>
              <a:gd name="connsiteY44" fmla="*/ 1206814 h 5955683"/>
              <a:gd name="connsiteX45" fmla="*/ 3287666 w 3864834"/>
              <a:gd name="connsiteY45" fmla="*/ 574354 h 5955683"/>
              <a:gd name="connsiteX46" fmla="*/ 2769506 w 3864834"/>
              <a:gd name="connsiteY46" fmla="*/ 10474 h 5955683"/>
              <a:gd name="connsiteX47" fmla="*/ 2548526 w 3864834"/>
              <a:gd name="connsiteY47" fmla="*/ 254314 h 595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864834" h="5955683">
                <a:moveTo>
                  <a:pt x="2548526" y="254314"/>
                </a:moveTo>
                <a:cubicBezTo>
                  <a:pt x="2511696" y="347024"/>
                  <a:pt x="2549796" y="467674"/>
                  <a:pt x="2548526" y="566734"/>
                </a:cubicBezTo>
                <a:cubicBezTo>
                  <a:pt x="2547256" y="665794"/>
                  <a:pt x="2566306" y="649284"/>
                  <a:pt x="2540906" y="848674"/>
                </a:cubicBezTo>
                <a:cubicBezTo>
                  <a:pt x="2515506" y="1048064"/>
                  <a:pt x="2483756" y="1474784"/>
                  <a:pt x="2396126" y="1763074"/>
                </a:cubicBezTo>
                <a:cubicBezTo>
                  <a:pt x="2308496" y="2051364"/>
                  <a:pt x="2164986" y="2338384"/>
                  <a:pt x="2015126" y="2578414"/>
                </a:cubicBezTo>
                <a:cubicBezTo>
                  <a:pt x="1865266" y="2818444"/>
                  <a:pt x="1650636" y="3035614"/>
                  <a:pt x="1496966" y="3203254"/>
                </a:cubicBezTo>
                <a:cubicBezTo>
                  <a:pt x="1343296" y="3370894"/>
                  <a:pt x="1254396" y="3447094"/>
                  <a:pt x="1093106" y="3584254"/>
                </a:cubicBezTo>
                <a:cubicBezTo>
                  <a:pt x="931816" y="3721414"/>
                  <a:pt x="685436" y="3890324"/>
                  <a:pt x="529226" y="4026214"/>
                </a:cubicBezTo>
                <a:cubicBezTo>
                  <a:pt x="373016" y="4162104"/>
                  <a:pt x="239666" y="4291644"/>
                  <a:pt x="155846" y="4399594"/>
                </a:cubicBezTo>
                <a:cubicBezTo>
                  <a:pt x="72026" y="4507544"/>
                  <a:pt x="46626" y="4571044"/>
                  <a:pt x="26306" y="4673914"/>
                </a:cubicBezTo>
                <a:cubicBezTo>
                  <a:pt x="5986" y="4776784"/>
                  <a:pt x="-24494" y="4899974"/>
                  <a:pt x="33926" y="5016814"/>
                </a:cubicBezTo>
                <a:cubicBezTo>
                  <a:pt x="92346" y="5133654"/>
                  <a:pt x="218076" y="5283514"/>
                  <a:pt x="376826" y="5374954"/>
                </a:cubicBezTo>
                <a:cubicBezTo>
                  <a:pt x="535576" y="5466394"/>
                  <a:pt x="784496" y="5534974"/>
                  <a:pt x="986426" y="5565454"/>
                </a:cubicBezTo>
                <a:cubicBezTo>
                  <a:pt x="1188356" y="5595934"/>
                  <a:pt x="1353456" y="5621334"/>
                  <a:pt x="1588406" y="5557834"/>
                </a:cubicBezTo>
                <a:cubicBezTo>
                  <a:pt x="1823356" y="5494334"/>
                  <a:pt x="2176416" y="5319074"/>
                  <a:pt x="2396126" y="5184454"/>
                </a:cubicBezTo>
                <a:cubicBezTo>
                  <a:pt x="2615836" y="5049834"/>
                  <a:pt x="2712356" y="4990144"/>
                  <a:pt x="2906666" y="4750114"/>
                </a:cubicBezTo>
                <a:cubicBezTo>
                  <a:pt x="3100976" y="4510084"/>
                  <a:pt x="3405776" y="4055424"/>
                  <a:pt x="3561986" y="3744274"/>
                </a:cubicBezTo>
                <a:cubicBezTo>
                  <a:pt x="3718196" y="3433124"/>
                  <a:pt x="3800746" y="3154994"/>
                  <a:pt x="3843926" y="2883214"/>
                </a:cubicBezTo>
                <a:cubicBezTo>
                  <a:pt x="3887106" y="2611434"/>
                  <a:pt x="3855356" y="2344734"/>
                  <a:pt x="3821066" y="2113594"/>
                </a:cubicBezTo>
                <a:cubicBezTo>
                  <a:pt x="3786776" y="1882454"/>
                  <a:pt x="3746136" y="1705924"/>
                  <a:pt x="3638186" y="1496374"/>
                </a:cubicBezTo>
                <a:cubicBezTo>
                  <a:pt x="3530236" y="1286824"/>
                  <a:pt x="3315606" y="1003614"/>
                  <a:pt x="3173366" y="856294"/>
                </a:cubicBezTo>
                <a:cubicBezTo>
                  <a:pt x="3031126" y="708974"/>
                  <a:pt x="2893966" y="659444"/>
                  <a:pt x="2784746" y="612454"/>
                </a:cubicBezTo>
                <a:cubicBezTo>
                  <a:pt x="2675526" y="565464"/>
                  <a:pt x="2572656" y="571814"/>
                  <a:pt x="2518046" y="574354"/>
                </a:cubicBezTo>
                <a:cubicBezTo>
                  <a:pt x="2463436" y="576894"/>
                  <a:pt x="2472326" y="598484"/>
                  <a:pt x="2457086" y="627694"/>
                </a:cubicBezTo>
                <a:cubicBezTo>
                  <a:pt x="2441846" y="656904"/>
                  <a:pt x="2446926" y="660714"/>
                  <a:pt x="2426606" y="749614"/>
                </a:cubicBezTo>
                <a:cubicBezTo>
                  <a:pt x="2406286" y="838514"/>
                  <a:pt x="2380886" y="965514"/>
                  <a:pt x="2335166" y="1161094"/>
                </a:cubicBezTo>
                <a:cubicBezTo>
                  <a:pt x="2289446" y="1356674"/>
                  <a:pt x="2237376" y="1680524"/>
                  <a:pt x="2152286" y="1923094"/>
                </a:cubicBezTo>
                <a:cubicBezTo>
                  <a:pt x="2067196" y="2165664"/>
                  <a:pt x="1993536" y="2346004"/>
                  <a:pt x="1824626" y="2616514"/>
                </a:cubicBezTo>
                <a:cubicBezTo>
                  <a:pt x="1655716" y="2887024"/>
                  <a:pt x="1316626" y="3309934"/>
                  <a:pt x="1138826" y="3546154"/>
                </a:cubicBezTo>
                <a:cubicBezTo>
                  <a:pt x="961026" y="3782374"/>
                  <a:pt x="864506" y="3873814"/>
                  <a:pt x="757826" y="4033834"/>
                </a:cubicBezTo>
                <a:cubicBezTo>
                  <a:pt x="651146" y="4193854"/>
                  <a:pt x="564786" y="4339904"/>
                  <a:pt x="498746" y="4506274"/>
                </a:cubicBezTo>
                <a:cubicBezTo>
                  <a:pt x="432706" y="4672644"/>
                  <a:pt x="381906" y="4884734"/>
                  <a:pt x="361586" y="5032054"/>
                </a:cubicBezTo>
                <a:cubicBezTo>
                  <a:pt x="341266" y="5179374"/>
                  <a:pt x="357776" y="5278434"/>
                  <a:pt x="376826" y="5390194"/>
                </a:cubicBezTo>
                <a:cubicBezTo>
                  <a:pt x="395876" y="5501954"/>
                  <a:pt x="418736" y="5618794"/>
                  <a:pt x="475886" y="5702614"/>
                </a:cubicBezTo>
                <a:cubicBezTo>
                  <a:pt x="533036" y="5786434"/>
                  <a:pt x="601616" y="5852474"/>
                  <a:pt x="719726" y="5893114"/>
                </a:cubicBezTo>
                <a:cubicBezTo>
                  <a:pt x="837836" y="5933754"/>
                  <a:pt x="1008016" y="5974394"/>
                  <a:pt x="1184546" y="5946454"/>
                </a:cubicBezTo>
                <a:cubicBezTo>
                  <a:pt x="1361076" y="5918514"/>
                  <a:pt x="1587136" y="5841044"/>
                  <a:pt x="1778906" y="5725474"/>
                </a:cubicBezTo>
                <a:cubicBezTo>
                  <a:pt x="1970676" y="5609904"/>
                  <a:pt x="2185306" y="5395274"/>
                  <a:pt x="2335166" y="5253034"/>
                </a:cubicBezTo>
                <a:cubicBezTo>
                  <a:pt x="2485026" y="5110794"/>
                  <a:pt x="2540906" y="5056184"/>
                  <a:pt x="2678066" y="4872034"/>
                </a:cubicBezTo>
                <a:cubicBezTo>
                  <a:pt x="2815226" y="4687884"/>
                  <a:pt x="3033666" y="4357684"/>
                  <a:pt x="3158126" y="4148134"/>
                </a:cubicBezTo>
                <a:cubicBezTo>
                  <a:pt x="3282586" y="3938584"/>
                  <a:pt x="3356246" y="3776024"/>
                  <a:pt x="3424826" y="3614734"/>
                </a:cubicBezTo>
                <a:cubicBezTo>
                  <a:pt x="3493406" y="3453444"/>
                  <a:pt x="3527696" y="3369624"/>
                  <a:pt x="3569606" y="3180394"/>
                </a:cubicBezTo>
                <a:cubicBezTo>
                  <a:pt x="3611516" y="2991164"/>
                  <a:pt x="3657236" y="2729544"/>
                  <a:pt x="3676286" y="2479354"/>
                </a:cubicBezTo>
                <a:cubicBezTo>
                  <a:pt x="3695336" y="2229164"/>
                  <a:pt x="3708036" y="1891344"/>
                  <a:pt x="3683906" y="1679254"/>
                </a:cubicBezTo>
                <a:cubicBezTo>
                  <a:pt x="3659776" y="1467164"/>
                  <a:pt x="3597546" y="1390964"/>
                  <a:pt x="3531506" y="1206814"/>
                </a:cubicBezTo>
                <a:cubicBezTo>
                  <a:pt x="3465466" y="1022664"/>
                  <a:pt x="3414666" y="773744"/>
                  <a:pt x="3287666" y="574354"/>
                </a:cubicBezTo>
                <a:cubicBezTo>
                  <a:pt x="3160666" y="374964"/>
                  <a:pt x="2890156" y="70164"/>
                  <a:pt x="2769506" y="10474"/>
                </a:cubicBezTo>
                <a:cubicBezTo>
                  <a:pt x="2648856" y="-49216"/>
                  <a:pt x="2585356" y="161604"/>
                  <a:pt x="2548526" y="254314"/>
                </a:cubicBezTo>
                <a:close/>
              </a:path>
            </a:pathLst>
          </a:custGeom>
          <a:noFill/>
          <a:ln w="254000" cmpd="tri">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Rechteck 4"/>
          <p:cNvSpPr/>
          <p:nvPr/>
        </p:nvSpPr>
        <p:spPr>
          <a:xfrm>
            <a:off x="-2206171" y="-631371"/>
            <a:ext cx="19899085" cy="204234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Inhaltsplatzhalter 16"/>
          <p:cNvSpPr>
            <a:spLocks noGrp="1"/>
          </p:cNvSpPr>
          <p:nvPr>
            <p:ph sz="quarter" idx="13"/>
          </p:nvPr>
        </p:nvSpPr>
        <p:spPr/>
        <p:txBody>
          <a:bodyPr/>
          <a:lstStyle/>
          <a:p>
            <a:endParaRPr lang="de-DE" sz="1600" dirty="0">
              <a:latin typeface="Arial" panose="020B0604020202020204" pitchFamily="34" charset="0"/>
              <a:cs typeface="Arial" panose="020B0604020202020204" pitchFamily="34" charset="0"/>
            </a:endParaRPr>
          </a:p>
          <a:p>
            <a:endParaRPr lang="de-DE" sz="1600" dirty="0"/>
          </a:p>
        </p:txBody>
      </p:sp>
      <p:sp>
        <p:nvSpPr>
          <p:cNvPr id="2" name="Titel 1"/>
          <p:cNvSpPr>
            <a:spLocks noGrp="1"/>
          </p:cNvSpPr>
          <p:nvPr>
            <p:ph type="title"/>
          </p:nvPr>
        </p:nvSpPr>
        <p:spPr>
          <a:xfrm>
            <a:off x="695328" y="441325"/>
            <a:ext cx="10801347" cy="894416"/>
          </a:xfrm>
        </p:spPr>
        <p:txBody>
          <a:bodyPr/>
          <a:lstStyle/>
          <a:p>
            <a:r>
              <a:rPr lang="de-DE" dirty="0" smtClean="0"/>
              <a:t>1. </a:t>
            </a:r>
            <a:r>
              <a:rPr lang="de-DE" dirty="0" err="1" smtClean="0"/>
              <a:t>Divert</a:t>
            </a:r>
            <a:r>
              <a:rPr lang="de-DE" dirty="0" smtClean="0"/>
              <a:t> Plasma </a:t>
            </a:r>
            <a:r>
              <a:rPr lang="de-DE" dirty="0" err="1" smtClean="0"/>
              <a:t>Particles</a:t>
            </a:r>
            <a:r>
              <a:rPr lang="de-DE" dirty="0" smtClean="0"/>
              <a:t> – </a:t>
            </a:r>
            <a:r>
              <a:rPr lang="de-DE" dirty="0" smtClean="0"/>
              <a:t>High </a:t>
            </a:r>
            <a:r>
              <a:rPr lang="de-DE" dirty="0" err="1" smtClean="0"/>
              <a:t>iota</a:t>
            </a:r>
            <a:r>
              <a:rPr lang="de-DE" dirty="0" smtClean="0"/>
              <a:t> / Standard / Low </a:t>
            </a:r>
            <a:r>
              <a:rPr lang="de-DE" dirty="0" err="1" smtClean="0"/>
              <a:t>iota</a:t>
            </a:r>
            <a:r>
              <a:rPr lang="de-DE" dirty="0" smtClean="0"/>
              <a:t> / High </a:t>
            </a:r>
            <a:r>
              <a:rPr lang="de-DE" dirty="0" err="1" smtClean="0"/>
              <a:t>mirror</a:t>
            </a:r>
            <a:endParaRPr lang="de-DE" dirty="0"/>
          </a:p>
        </p:txBody>
      </p:sp>
      <p:sp>
        <p:nvSpPr>
          <p:cNvPr id="3" name="Fußzeilenplatzhalter 2"/>
          <p:cNvSpPr>
            <a:spLocks noGrp="1"/>
          </p:cNvSpPr>
          <p:nvPr>
            <p:ph type="ftr" sz="quarter" idx="4294967295"/>
          </p:nvPr>
        </p:nvSpPr>
        <p:spPr>
          <a:xfrm>
            <a:off x="0" y="6489700"/>
            <a:ext cx="10477500" cy="142875"/>
          </a:xfrm>
        </p:spPr>
        <p:txBody>
          <a:bodyPr/>
          <a:lstStyle/>
          <a:p>
            <a:pPr algn="l">
              <a:tabLst>
                <a:tab pos="9775321" algn="r"/>
                <a:tab pos="10226148" algn="r"/>
              </a:tabLst>
            </a:pPr>
            <a:r>
              <a:rPr lang="de-DE" smtClean="0"/>
              <a:t>Max-Planck-Institut für Plasmaphysik | Thierry Kremeyer | 22.01.24</a:t>
            </a:r>
            <a:endParaRPr lang="de-DE" dirty="0"/>
          </a:p>
        </p:txBody>
      </p:sp>
      <p:sp>
        <p:nvSpPr>
          <p:cNvPr id="4" name="Foliennummernplatzhalter 3"/>
          <p:cNvSpPr>
            <a:spLocks noGrp="1"/>
          </p:cNvSpPr>
          <p:nvPr>
            <p:ph type="sldNum" sz="quarter" idx="4294967295"/>
          </p:nvPr>
        </p:nvSpPr>
        <p:spPr>
          <a:xfrm>
            <a:off x="11863388" y="6489700"/>
            <a:ext cx="328612" cy="142875"/>
          </a:xfrm>
        </p:spPr>
        <p:txBody>
          <a:bodyPr/>
          <a:lstStyle/>
          <a:p>
            <a:fld id="{3B1A4699-952B-42DA-8DC4-38A59B49610C}" type="slidenum">
              <a:rPr lang="de-DE" smtClean="0"/>
              <a:pPr/>
              <a:t>3</a:t>
            </a:fld>
            <a:endParaRPr lang="de-DE" dirty="0"/>
          </a:p>
        </p:txBody>
      </p:sp>
      <mc:AlternateContent xmlns:mc="http://schemas.openxmlformats.org/markup-compatibility/2006">
        <mc:Choice xmlns:a14="http://schemas.microsoft.com/office/drawing/2010/main" Requires="a14">
          <p:sp>
            <p:nvSpPr>
              <p:cNvPr id="34" name="Rechteck 33"/>
              <p:cNvSpPr/>
              <p:nvPr/>
            </p:nvSpPr>
            <p:spPr>
              <a:xfrm>
                <a:off x="2428486" y="2426114"/>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𝑫</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34" name="Rechteck 33"/>
              <p:cNvSpPr>
                <a:spLocks noRot="1" noChangeAspect="1" noMove="1" noResize="1" noEditPoints="1" noAdjustHandles="1" noChangeArrowheads="1" noChangeShapeType="1" noTextEdit="1"/>
              </p:cNvSpPr>
              <p:nvPr/>
            </p:nvSpPr>
            <p:spPr>
              <a:xfrm>
                <a:off x="2428486" y="2426114"/>
                <a:ext cx="1371914" cy="349391"/>
              </a:xfrm>
              <a:prstGeom prst="rect">
                <a:avLst/>
              </a:prstGeom>
              <a:blipFill>
                <a:blip r:embed="rId2"/>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36" name="Rechteck 35"/>
              <p:cNvSpPr/>
              <p:nvPr/>
            </p:nvSpPr>
            <p:spPr>
              <a:xfrm>
                <a:off x="1297812" y="2441354"/>
                <a:ext cx="1020343" cy="34932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a:latin typeface="Cambria Math" panose="02040503050406030204" pitchFamily="18" charset="0"/>
                            </a:rPr>
                            <m:t>𝑷𝑭𝑹</m:t>
                          </m:r>
                        </m:sub>
                      </m:sSub>
                    </m:oMath>
                  </m:oMathPara>
                </a14:m>
                <a:endParaRPr lang="de-DE" dirty="0"/>
              </a:p>
            </p:txBody>
          </p:sp>
        </mc:Choice>
        <mc:Fallback>
          <p:sp>
            <p:nvSpPr>
              <p:cNvPr id="36" name="Rechteck 35"/>
              <p:cNvSpPr>
                <a:spLocks noRot="1" noChangeAspect="1" noMove="1" noResize="1" noEditPoints="1" noAdjustHandles="1" noChangeArrowheads="1" noChangeShapeType="1" noTextEdit="1"/>
              </p:cNvSpPr>
              <p:nvPr/>
            </p:nvSpPr>
            <p:spPr>
              <a:xfrm>
                <a:off x="1297812" y="2441354"/>
                <a:ext cx="1020343" cy="349326"/>
              </a:xfrm>
              <a:prstGeom prst="rect">
                <a:avLst/>
              </a:prstGeom>
              <a:blipFill>
                <a:blip r:embed="rId3"/>
                <a:stretch>
                  <a:fillRect/>
                </a:stretch>
              </a:blipFill>
            </p:spPr>
            <p:txBody>
              <a:bodyPr/>
              <a:lstStyle/>
              <a:p>
                <a:r>
                  <a:rPr lang="de-DE">
                    <a:noFill/>
                  </a:rPr>
                  <a:t> </a:t>
                </a:r>
              </a:p>
            </p:txBody>
          </p:sp>
        </mc:Fallback>
      </mc:AlternateContent>
      <p:cxnSp>
        <p:nvCxnSpPr>
          <p:cNvPr id="38" name="Gerade Verbindung mit Pfeil 37"/>
          <p:cNvCxnSpPr/>
          <p:nvPr/>
        </p:nvCxnSpPr>
        <p:spPr>
          <a:xfrm flipH="1">
            <a:off x="2247901" y="2627141"/>
            <a:ext cx="167867" cy="5418"/>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flipV="1">
            <a:off x="2415769" y="2626209"/>
            <a:ext cx="166638" cy="932"/>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 name="Rechteck 5"/>
          <p:cNvSpPr/>
          <p:nvPr/>
        </p:nvSpPr>
        <p:spPr>
          <a:xfrm>
            <a:off x="0" y="4826130"/>
            <a:ext cx="12192000" cy="170802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2400" b="1" dirty="0" smtClean="0">
                <a:solidFill>
                  <a:srgbClr val="005555"/>
                </a:solidFill>
              </a:rPr>
              <a:t>		</a:t>
            </a:r>
            <a:r>
              <a:rPr lang="de-DE" sz="2400" b="1" dirty="0" smtClean="0">
                <a:solidFill>
                  <a:srgbClr val="005555"/>
                </a:solidFill>
              </a:rPr>
              <a:t>Target </a:t>
            </a:r>
            <a:r>
              <a:rPr lang="de-DE" sz="2400" b="1" dirty="0" err="1" smtClean="0">
                <a:solidFill>
                  <a:srgbClr val="005555"/>
                </a:solidFill>
              </a:rPr>
              <a:t>geometry</a:t>
            </a:r>
            <a:r>
              <a:rPr lang="de-DE" sz="2400" b="1" dirty="0" smtClean="0">
                <a:solidFill>
                  <a:srgbClr val="005555"/>
                </a:solidFill>
              </a:rPr>
              <a:t> </a:t>
            </a:r>
            <a:r>
              <a:rPr lang="de-DE" sz="2400" b="1" dirty="0" err="1" smtClean="0">
                <a:solidFill>
                  <a:srgbClr val="005555"/>
                </a:solidFill>
              </a:rPr>
              <a:t>for</a:t>
            </a:r>
            <a:r>
              <a:rPr lang="de-DE" sz="2400" b="1" dirty="0" smtClean="0">
                <a:solidFill>
                  <a:srgbClr val="005555"/>
                </a:solidFill>
              </a:rPr>
              <a:t> an </a:t>
            </a:r>
            <a:r>
              <a:rPr lang="de-DE" sz="2400" b="1" dirty="0" err="1" smtClean="0">
                <a:solidFill>
                  <a:srgbClr val="005555"/>
                </a:solidFill>
              </a:rPr>
              <a:t>arbitrary</a:t>
            </a:r>
            <a:r>
              <a:rPr lang="de-DE" sz="2400" b="1" dirty="0" smtClean="0">
                <a:solidFill>
                  <a:srgbClr val="005555"/>
                </a:solidFill>
              </a:rPr>
              <a:t> </a:t>
            </a:r>
            <a:r>
              <a:rPr lang="de-DE" sz="2400" b="1" dirty="0" err="1" smtClean="0">
                <a:solidFill>
                  <a:srgbClr val="005555"/>
                </a:solidFill>
              </a:rPr>
              <a:t>island</a:t>
            </a:r>
            <a:endParaRPr lang="de-DE" sz="2400" b="1" dirty="0" smtClean="0">
              <a:solidFill>
                <a:srgbClr val="005555"/>
              </a:solidFill>
            </a:endParaRPr>
          </a:p>
          <a:p>
            <a:pPr algn="l">
              <a:spcBef>
                <a:spcPts val="1150"/>
              </a:spcBef>
              <a:buClr>
                <a:srgbClr val="116656"/>
              </a:buClr>
              <a:buSzPct val="120000"/>
            </a:pPr>
            <a:r>
              <a:rPr lang="de-DE" sz="2400" b="1" dirty="0">
                <a:solidFill>
                  <a:srgbClr val="005555"/>
                </a:solidFill>
              </a:rPr>
              <a:t>	</a:t>
            </a:r>
            <a:r>
              <a:rPr lang="de-DE" sz="2400" b="1" dirty="0" smtClean="0">
                <a:solidFill>
                  <a:srgbClr val="005555"/>
                </a:solidFill>
              </a:rPr>
              <a:t>	</a:t>
            </a:r>
            <a:r>
              <a:rPr lang="de-DE" sz="2400" b="1" dirty="0" err="1" smtClean="0">
                <a:solidFill>
                  <a:srgbClr val="005555"/>
                </a:solidFill>
              </a:rPr>
              <a:t>Only</a:t>
            </a:r>
            <a:r>
              <a:rPr lang="de-DE" sz="2400" b="1" dirty="0" smtClean="0">
                <a:solidFill>
                  <a:srgbClr val="005555"/>
                </a:solidFill>
              </a:rPr>
              <a:t> </a:t>
            </a:r>
            <a:r>
              <a:rPr lang="de-DE" sz="2400" b="1" dirty="0" err="1" smtClean="0">
                <a:solidFill>
                  <a:srgbClr val="005555"/>
                </a:solidFill>
              </a:rPr>
              <a:t>intersect</a:t>
            </a:r>
            <a:r>
              <a:rPr lang="de-DE" sz="2400" b="1" dirty="0" smtClean="0">
                <a:solidFill>
                  <a:srgbClr val="005555"/>
                </a:solidFill>
              </a:rPr>
              <a:t> </a:t>
            </a:r>
            <a:r>
              <a:rPr lang="de-DE" sz="2400" b="1" dirty="0" err="1" smtClean="0">
                <a:solidFill>
                  <a:srgbClr val="005555"/>
                </a:solidFill>
              </a:rPr>
              <a:t>each</a:t>
            </a:r>
            <a:r>
              <a:rPr lang="de-DE" sz="2400" b="1" dirty="0" smtClean="0">
                <a:solidFill>
                  <a:srgbClr val="005555"/>
                </a:solidFill>
              </a:rPr>
              <a:t> </a:t>
            </a:r>
            <a:r>
              <a:rPr lang="de-DE" sz="2400" b="1" dirty="0" err="1" smtClean="0">
                <a:solidFill>
                  <a:srgbClr val="005555"/>
                </a:solidFill>
              </a:rPr>
              <a:t>island</a:t>
            </a:r>
            <a:r>
              <a:rPr lang="de-DE" sz="2400" b="1" dirty="0" smtClean="0">
                <a:solidFill>
                  <a:srgbClr val="005555"/>
                </a:solidFill>
              </a:rPr>
              <a:t> </a:t>
            </a:r>
            <a:r>
              <a:rPr lang="de-DE" sz="2400" b="1" dirty="0" err="1" smtClean="0">
                <a:solidFill>
                  <a:srgbClr val="005555"/>
                </a:solidFill>
              </a:rPr>
              <a:t>toroid</a:t>
            </a:r>
            <a:r>
              <a:rPr lang="de-DE" sz="2400" b="1" dirty="0" smtClean="0">
                <a:solidFill>
                  <a:srgbClr val="005555"/>
                </a:solidFill>
              </a:rPr>
              <a:t> </a:t>
            </a:r>
            <a:r>
              <a:rPr lang="de-DE" sz="2400" b="1" dirty="0" err="1" smtClean="0">
                <a:solidFill>
                  <a:srgbClr val="005555"/>
                </a:solidFill>
              </a:rPr>
              <a:t>once</a:t>
            </a:r>
            <a:r>
              <a:rPr lang="de-DE" sz="2400" b="1" dirty="0" smtClean="0">
                <a:solidFill>
                  <a:srgbClr val="005555"/>
                </a:solidFill>
              </a:rPr>
              <a:t> (</a:t>
            </a:r>
            <a:r>
              <a:rPr lang="de-DE" sz="2400" b="1" dirty="0" err="1" smtClean="0">
                <a:solidFill>
                  <a:srgbClr val="005555"/>
                </a:solidFill>
              </a:rPr>
              <a:t>no</a:t>
            </a:r>
            <a:r>
              <a:rPr lang="de-DE" sz="2400" b="1" dirty="0" smtClean="0">
                <a:solidFill>
                  <a:srgbClr val="005555"/>
                </a:solidFill>
              </a:rPr>
              <a:t> </a:t>
            </a:r>
            <a:r>
              <a:rPr lang="de-DE" sz="2400" b="1" dirty="0" err="1" smtClean="0">
                <a:solidFill>
                  <a:srgbClr val="005555"/>
                </a:solidFill>
              </a:rPr>
              <a:t>shadowing</a:t>
            </a:r>
            <a:r>
              <a:rPr lang="de-DE" sz="2400" b="1" dirty="0" smtClean="0">
                <a:solidFill>
                  <a:srgbClr val="005555"/>
                </a:solidFill>
              </a:rPr>
              <a:t>)</a:t>
            </a:r>
            <a:endParaRPr lang="de-DE" sz="2400" b="1" dirty="0" smtClean="0">
              <a:solidFill>
                <a:srgbClr val="005555"/>
              </a:solidFill>
            </a:endParaRPr>
          </a:p>
        </p:txBody>
      </p:sp>
    </p:spTree>
    <p:extLst>
      <p:ext uri="{BB962C8B-B14F-4D97-AF65-F5344CB8AC3E}">
        <p14:creationId xmlns:p14="http://schemas.microsoft.com/office/powerpoint/2010/main" val="34676928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ihandform 48"/>
          <p:cNvSpPr/>
          <p:nvPr/>
        </p:nvSpPr>
        <p:spPr>
          <a:xfrm>
            <a:off x="-2086464" y="-24350804"/>
            <a:ext cx="22385975" cy="30817870"/>
          </a:xfrm>
          <a:custGeom>
            <a:avLst/>
            <a:gdLst>
              <a:gd name="connsiteX0" fmla="*/ 4684471 w 9542485"/>
              <a:gd name="connsiteY0" fmla="*/ 2762228 h 13136754"/>
              <a:gd name="connsiteX1" fmla="*/ 4357899 w 9542485"/>
              <a:gd name="connsiteY1" fmla="*/ 3888899 h 13136754"/>
              <a:gd name="connsiteX2" fmla="*/ 3280214 w 9542485"/>
              <a:gd name="connsiteY2" fmla="*/ 5636057 h 13136754"/>
              <a:gd name="connsiteX3" fmla="*/ 2692385 w 9542485"/>
              <a:gd name="connsiteY3" fmla="*/ 6436157 h 13136754"/>
              <a:gd name="connsiteX4" fmla="*/ 1059528 w 9542485"/>
              <a:gd name="connsiteY4" fmla="*/ 7889399 h 13136754"/>
              <a:gd name="connsiteX5" fmla="*/ 161457 w 9542485"/>
              <a:gd name="connsiteY5" fmla="*/ 9456942 h 13136754"/>
              <a:gd name="connsiteX6" fmla="*/ 96142 w 9542485"/>
              <a:gd name="connsiteY6" fmla="*/ 11138785 h 13136754"/>
              <a:gd name="connsiteX7" fmla="*/ 1173828 w 9542485"/>
              <a:gd name="connsiteY7" fmla="*/ 12689999 h 13136754"/>
              <a:gd name="connsiteX8" fmla="*/ 2969971 w 9542485"/>
              <a:gd name="connsiteY8" fmla="*/ 13130871 h 13136754"/>
              <a:gd name="connsiteX9" fmla="*/ 5500899 w 9542485"/>
              <a:gd name="connsiteY9" fmla="*/ 12461399 h 13136754"/>
              <a:gd name="connsiteX10" fmla="*/ 7786899 w 9542485"/>
              <a:gd name="connsiteY10" fmla="*/ 10338685 h 13136754"/>
              <a:gd name="connsiteX11" fmla="*/ 9387099 w 9542485"/>
              <a:gd name="connsiteY11" fmla="*/ 7383214 h 13136754"/>
              <a:gd name="connsiteX12" fmla="*/ 9419757 w 9542485"/>
              <a:gd name="connsiteY12" fmla="*/ 3888899 h 13136754"/>
              <a:gd name="connsiteX13" fmla="*/ 8848257 w 9542485"/>
              <a:gd name="connsiteY13" fmla="*/ 1374299 h 13136754"/>
              <a:gd name="connsiteX14" fmla="*/ 7297042 w 9542485"/>
              <a:gd name="connsiteY14" fmla="*/ 149657 h 13136754"/>
              <a:gd name="connsiteX15" fmla="*/ 5386599 w 9542485"/>
              <a:gd name="connsiteY15" fmla="*/ 312942 h 13136754"/>
              <a:gd name="connsiteX16" fmla="*/ 4684471 w 9542485"/>
              <a:gd name="connsiteY16" fmla="*/ 2762228 h 13136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42485" h="13136754">
                <a:moveTo>
                  <a:pt x="4684471" y="2762228"/>
                </a:moveTo>
                <a:cubicBezTo>
                  <a:pt x="4513021" y="3358221"/>
                  <a:pt x="4591942" y="3409928"/>
                  <a:pt x="4357899" y="3888899"/>
                </a:cubicBezTo>
                <a:cubicBezTo>
                  <a:pt x="4123856" y="4367870"/>
                  <a:pt x="3557800" y="5211514"/>
                  <a:pt x="3280214" y="5636057"/>
                </a:cubicBezTo>
                <a:cubicBezTo>
                  <a:pt x="3002628" y="6060600"/>
                  <a:pt x="3062499" y="6060600"/>
                  <a:pt x="2692385" y="6436157"/>
                </a:cubicBezTo>
                <a:cubicBezTo>
                  <a:pt x="2322271" y="6811714"/>
                  <a:pt x="1481349" y="7385935"/>
                  <a:pt x="1059528" y="7889399"/>
                </a:cubicBezTo>
                <a:cubicBezTo>
                  <a:pt x="637707" y="8392863"/>
                  <a:pt x="322021" y="8915378"/>
                  <a:pt x="161457" y="9456942"/>
                </a:cubicBezTo>
                <a:cubicBezTo>
                  <a:pt x="893" y="9998506"/>
                  <a:pt x="-72586" y="10599942"/>
                  <a:pt x="96142" y="11138785"/>
                </a:cubicBezTo>
                <a:cubicBezTo>
                  <a:pt x="264870" y="11677628"/>
                  <a:pt x="694857" y="12357985"/>
                  <a:pt x="1173828" y="12689999"/>
                </a:cubicBezTo>
                <a:cubicBezTo>
                  <a:pt x="1652799" y="13022013"/>
                  <a:pt x="2248792" y="13168971"/>
                  <a:pt x="2969971" y="13130871"/>
                </a:cubicBezTo>
                <a:cubicBezTo>
                  <a:pt x="3691149" y="13092771"/>
                  <a:pt x="4698078" y="12926763"/>
                  <a:pt x="5500899" y="12461399"/>
                </a:cubicBezTo>
                <a:cubicBezTo>
                  <a:pt x="6303720" y="11996035"/>
                  <a:pt x="7139199" y="11185049"/>
                  <a:pt x="7786899" y="10338685"/>
                </a:cubicBezTo>
                <a:cubicBezTo>
                  <a:pt x="8434599" y="9492321"/>
                  <a:pt x="9114956" y="8458178"/>
                  <a:pt x="9387099" y="7383214"/>
                </a:cubicBezTo>
                <a:cubicBezTo>
                  <a:pt x="9659242" y="6308250"/>
                  <a:pt x="9509564" y="4890385"/>
                  <a:pt x="9419757" y="3888899"/>
                </a:cubicBezTo>
                <a:cubicBezTo>
                  <a:pt x="9329950" y="2887413"/>
                  <a:pt x="9202043" y="1997506"/>
                  <a:pt x="8848257" y="1374299"/>
                </a:cubicBezTo>
                <a:cubicBezTo>
                  <a:pt x="8494471" y="751092"/>
                  <a:pt x="7873985" y="326550"/>
                  <a:pt x="7297042" y="149657"/>
                </a:cubicBezTo>
                <a:cubicBezTo>
                  <a:pt x="6720099" y="-27236"/>
                  <a:pt x="5822027" y="-125208"/>
                  <a:pt x="5386599" y="312942"/>
                </a:cubicBezTo>
                <a:cubicBezTo>
                  <a:pt x="4951171" y="751092"/>
                  <a:pt x="4855921" y="2166235"/>
                  <a:pt x="4684471" y="2762228"/>
                </a:cubicBezTo>
                <a:close/>
              </a:path>
            </a:pathLst>
          </a:custGeom>
          <a:solidFill>
            <a:srgbClr val="00B1EA"/>
          </a:solidFill>
          <a:ln w="76200" cmpd="sng">
            <a:solidFill>
              <a:srgbClr val="777777"/>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0" name="Freihandform 49"/>
          <p:cNvSpPr/>
          <p:nvPr/>
        </p:nvSpPr>
        <p:spPr>
          <a:xfrm>
            <a:off x="2182800" y="-20191745"/>
            <a:ext cx="15407605" cy="23179488"/>
          </a:xfrm>
          <a:custGeom>
            <a:avLst/>
            <a:gdLst>
              <a:gd name="connsiteX0" fmla="*/ 2196428 w 3337496"/>
              <a:gd name="connsiteY0" fmla="*/ 14935 h 5020991"/>
              <a:gd name="connsiteX1" fmla="*/ 2186903 w 3337496"/>
              <a:gd name="connsiteY1" fmla="*/ 181622 h 5020991"/>
              <a:gd name="connsiteX2" fmla="*/ 2167853 w 3337496"/>
              <a:gd name="connsiteY2" fmla="*/ 443560 h 5020991"/>
              <a:gd name="connsiteX3" fmla="*/ 2082128 w 3337496"/>
              <a:gd name="connsiteY3" fmla="*/ 1019822 h 5020991"/>
              <a:gd name="connsiteX4" fmla="*/ 1982116 w 3337496"/>
              <a:gd name="connsiteY4" fmla="*/ 1353197 h 5020991"/>
              <a:gd name="connsiteX5" fmla="*/ 1824953 w 3337496"/>
              <a:gd name="connsiteY5" fmla="*/ 1719910 h 5020991"/>
              <a:gd name="connsiteX6" fmla="*/ 1529678 w 3337496"/>
              <a:gd name="connsiteY6" fmla="*/ 2186635 h 5020991"/>
              <a:gd name="connsiteX7" fmla="*/ 1386803 w 3337496"/>
              <a:gd name="connsiteY7" fmla="*/ 2367610 h 5020991"/>
              <a:gd name="connsiteX8" fmla="*/ 886741 w 3337496"/>
              <a:gd name="connsiteY8" fmla="*/ 2891485 h 5020991"/>
              <a:gd name="connsiteX9" fmla="*/ 734341 w 3337496"/>
              <a:gd name="connsiteY9" fmla="*/ 3029597 h 5020991"/>
              <a:gd name="connsiteX10" fmla="*/ 615278 w 3337496"/>
              <a:gd name="connsiteY10" fmla="*/ 3186760 h 5020991"/>
              <a:gd name="connsiteX11" fmla="*/ 367628 w 3337496"/>
              <a:gd name="connsiteY11" fmla="*/ 3539185 h 5020991"/>
              <a:gd name="connsiteX12" fmla="*/ 172366 w 3337496"/>
              <a:gd name="connsiteY12" fmla="*/ 3896372 h 5020991"/>
              <a:gd name="connsiteX13" fmla="*/ 53303 w 3337496"/>
              <a:gd name="connsiteY13" fmla="*/ 4234510 h 5020991"/>
              <a:gd name="connsiteX14" fmla="*/ 10441 w 3337496"/>
              <a:gd name="connsiteY14" fmla="*/ 4491685 h 5020991"/>
              <a:gd name="connsiteX15" fmla="*/ 916 w 3337496"/>
              <a:gd name="connsiteY15" fmla="*/ 4672660 h 5020991"/>
              <a:gd name="connsiteX16" fmla="*/ 916 w 3337496"/>
              <a:gd name="connsiteY16" fmla="*/ 4763147 h 5020991"/>
              <a:gd name="connsiteX17" fmla="*/ 5678 w 3337496"/>
              <a:gd name="connsiteY17" fmla="*/ 4786960 h 5020991"/>
              <a:gd name="connsiteX18" fmla="*/ 5678 w 3337496"/>
              <a:gd name="connsiteY18" fmla="*/ 4801247 h 5020991"/>
              <a:gd name="connsiteX19" fmla="*/ 5678 w 3337496"/>
              <a:gd name="connsiteY19" fmla="*/ 4815535 h 5020991"/>
              <a:gd name="connsiteX20" fmla="*/ 24728 w 3337496"/>
              <a:gd name="connsiteY20" fmla="*/ 4815535 h 5020991"/>
              <a:gd name="connsiteX21" fmla="*/ 91403 w 3337496"/>
              <a:gd name="connsiteY21" fmla="*/ 4853635 h 5020991"/>
              <a:gd name="connsiteX22" fmla="*/ 320003 w 3337496"/>
              <a:gd name="connsiteY22" fmla="*/ 4929835 h 5020991"/>
              <a:gd name="connsiteX23" fmla="*/ 701003 w 3337496"/>
              <a:gd name="connsiteY23" fmla="*/ 5010797 h 5020991"/>
              <a:gd name="connsiteX24" fmla="*/ 1191541 w 3337496"/>
              <a:gd name="connsiteY24" fmla="*/ 4991747 h 5020991"/>
              <a:gd name="connsiteX25" fmla="*/ 1805903 w 3337496"/>
              <a:gd name="connsiteY25" fmla="*/ 4758385 h 5020991"/>
              <a:gd name="connsiteX26" fmla="*/ 2015453 w 3337496"/>
              <a:gd name="connsiteY26" fmla="*/ 4625035 h 5020991"/>
              <a:gd name="connsiteX27" fmla="*/ 2215478 w 3337496"/>
              <a:gd name="connsiteY27" fmla="*/ 4420247 h 5020991"/>
              <a:gd name="connsiteX28" fmla="*/ 2525041 w 3337496"/>
              <a:gd name="connsiteY28" fmla="*/ 4029722 h 5020991"/>
              <a:gd name="connsiteX29" fmla="*/ 2844128 w 3337496"/>
              <a:gd name="connsiteY29" fmla="*/ 3520135 h 5020991"/>
              <a:gd name="connsiteX30" fmla="*/ 3187028 w 3337496"/>
              <a:gd name="connsiteY30" fmla="*/ 2715272 h 5020991"/>
              <a:gd name="connsiteX31" fmla="*/ 3329903 w 3337496"/>
              <a:gd name="connsiteY31" fmla="*/ 1910410 h 5020991"/>
              <a:gd name="connsiteX32" fmla="*/ 3315616 w 3337496"/>
              <a:gd name="connsiteY32" fmla="*/ 1110310 h 5020991"/>
              <a:gd name="connsiteX33" fmla="*/ 3296566 w 3337496"/>
              <a:gd name="connsiteY33" fmla="*/ 1005535 h 5020991"/>
              <a:gd name="connsiteX34" fmla="*/ 3244178 w 3337496"/>
              <a:gd name="connsiteY34" fmla="*/ 895997 h 5020991"/>
              <a:gd name="connsiteX35" fmla="*/ 3010816 w 3337496"/>
              <a:gd name="connsiteY35" fmla="*/ 519760 h 5020991"/>
              <a:gd name="connsiteX36" fmla="*/ 2706016 w 3337496"/>
              <a:gd name="connsiteY36" fmla="*/ 205435 h 5020991"/>
              <a:gd name="connsiteX37" fmla="*/ 2572666 w 3337496"/>
              <a:gd name="connsiteY37" fmla="*/ 114947 h 5020991"/>
              <a:gd name="connsiteX38" fmla="*/ 2486941 w 3337496"/>
              <a:gd name="connsiteY38" fmla="*/ 72085 h 5020991"/>
              <a:gd name="connsiteX39" fmla="*/ 2377403 w 3337496"/>
              <a:gd name="connsiteY39" fmla="*/ 33985 h 5020991"/>
              <a:gd name="connsiteX40" fmla="*/ 2263103 w 3337496"/>
              <a:gd name="connsiteY40" fmla="*/ 10172 h 5020991"/>
              <a:gd name="connsiteX41" fmla="*/ 2196428 w 3337496"/>
              <a:gd name="connsiteY41" fmla="*/ 14935 h 502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337496" h="5020991">
                <a:moveTo>
                  <a:pt x="2196428" y="14935"/>
                </a:moveTo>
                <a:cubicBezTo>
                  <a:pt x="2183728" y="43510"/>
                  <a:pt x="2191665" y="110185"/>
                  <a:pt x="2186903" y="181622"/>
                </a:cubicBezTo>
                <a:cubicBezTo>
                  <a:pt x="2182140" y="253060"/>
                  <a:pt x="2185315" y="303860"/>
                  <a:pt x="2167853" y="443560"/>
                </a:cubicBezTo>
                <a:cubicBezTo>
                  <a:pt x="2150391" y="583260"/>
                  <a:pt x="2113084" y="868216"/>
                  <a:pt x="2082128" y="1019822"/>
                </a:cubicBezTo>
                <a:cubicBezTo>
                  <a:pt x="2051172" y="1171428"/>
                  <a:pt x="2024978" y="1236516"/>
                  <a:pt x="1982116" y="1353197"/>
                </a:cubicBezTo>
                <a:cubicBezTo>
                  <a:pt x="1939253" y="1469878"/>
                  <a:pt x="1900359" y="1581004"/>
                  <a:pt x="1824953" y="1719910"/>
                </a:cubicBezTo>
                <a:cubicBezTo>
                  <a:pt x="1749547" y="1858816"/>
                  <a:pt x="1602703" y="2078685"/>
                  <a:pt x="1529678" y="2186635"/>
                </a:cubicBezTo>
                <a:cubicBezTo>
                  <a:pt x="1456653" y="2294585"/>
                  <a:pt x="1493959" y="2250135"/>
                  <a:pt x="1386803" y="2367610"/>
                </a:cubicBezTo>
                <a:cubicBezTo>
                  <a:pt x="1279647" y="2485085"/>
                  <a:pt x="995485" y="2781154"/>
                  <a:pt x="886741" y="2891485"/>
                </a:cubicBezTo>
                <a:cubicBezTo>
                  <a:pt x="777997" y="3001816"/>
                  <a:pt x="779585" y="2980385"/>
                  <a:pt x="734341" y="3029597"/>
                </a:cubicBezTo>
                <a:cubicBezTo>
                  <a:pt x="689097" y="3078809"/>
                  <a:pt x="676397" y="3101829"/>
                  <a:pt x="615278" y="3186760"/>
                </a:cubicBezTo>
                <a:cubicBezTo>
                  <a:pt x="554159" y="3271691"/>
                  <a:pt x="441447" y="3420916"/>
                  <a:pt x="367628" y="3539185"/>
                </a:cubicBezTo>
                <a:cubicBezTo>
                  <a:pt x="293809" y="3657454"/>
                  <a:pt x="224754" y="3780484"/>
                  <a:pt x="172366" y="3896372"/>
                </a:cubicBezTo>
                <a:cubicBezTo>
                  <a:pt x="119978" y="4012260"/>
                  <a:pt x="80291" y="4135291"/>
                  <a:pt x="53303" y="4234510"/>
                </a:cubicBezTo>
                <a:cubicBezTo>
                  <a:pt x="26315" y="4333729"/>
                  <a:pt x="19172" y="4418660"/>
                  <a:pt x="10441" y="4491685"/>
                </a:cubicBezTo>
                <a:cubicBezTo>
                  <a:pt x="1710" y="4564710"/>
                  <a:pt x="2503" y="4627416"/>
                  <a:pt x="916" y="4672660"/>
                </a:cubicBezTo>
                <a:cubicBezTo>
                  <a:pt x="-671" y="4717904"/>
                  <a:pt x="122" y="4744097"/>
                  <a:pt x="916" y="4763147"/>
                </a:cubicBezTo>
                <a:cubicBezTo>
                  <a:pt x="1710" y="4782197"/>
                  <a:pt x="5678" y="4786960"/>
                  <a:pt x="5678" y="4786960"/>
                </a:cubicBezTo>
                <a:cubicBezTo>
                  <a:pt x="6472" y="4793310"/>
                  <a:pt x="5678" y="4801247"/>
                  <a:pt x="5678" y="4801247"/>
                </a:cubicBezTo>
                <a:lnTo>
                  <a:pt x="5678" y="4815535"/>
                </a:lnTo>
                <a:cubicBezTo>
                  <a:pt x="8853" y="4817916"/>
                  <a:pt x="10440" y="4809185"/>
                  <a:pt x="24728" y="4815535"/>
                </a:cubicBezTo>
                <a:cubicBezTo>
                  <a:pt x="39016" y="4821885"/>
                  <a:pt x="42190" y="4834585"/>
                  <a:pt x="91403" y="4853635"/>
                </a:cubicBezTo>
                <a:cubicBezTo>
                  <a:pt x="140615" y="4872685"/>
                  <a:pt x="218403" y="4903641"/>
                  <a:pt x="320003" y="4929835"/>
                </a:cubicBezTo>
                <a:cubicBezTo>
                  <a:pt x="421603" y="4956029"/>
                  <a:pt x="555747" y="5000478"/>
                  <a:pt x="701003" y="5010797"/>
                </a:cubicBezTo>
                <a:cubicBezTo>
                  <a:pt x="846259" y="5021116"/>
                  <a:pt x="1007391" y="5033816"/>
                  <a:pt x="1191541" y="4991747"/>
                </a:cubicBezTo>
                <a:cubicBezTo>
                  <a:pt x="1375691" y="4949678"/>
                  <a:pt x="1668584" y="4819504"/>
                  <a:pt x="1805903" y="4758385"/>
                </a:cubicBezTo>
                <a:cubicBezTo>
                  <a:pt x="1943222" y="4697266"/>
                  <a:pt x="1947190" y="4681391"/>
                  <a:pt x="2015453" y="4625035"/>
                </a:cubicBezTo>
                <a:cubicBezTo>
                  <a:pt x="2083715" y="4568679"/>
                  <a:pt x="2130547" y="4519466"/>
                  <a:pt x="2215478" y="4420247"/>
                </a:cubicBezTo>
                <a:cubicBezTo>
                  <a:pt x="2300409" y="4321028"/>
                  <a:pt x="2420266" y="4179741"/>
                  <a:pt x="2525041" y="4029722"/>
                </a:cubicBezTo>
                <a:cubicBezTo>
                  <a:pt x="2629816" y="3879703"/>
                  <a:pt x="2733797" y="3739210"/>
                  <a:pt x="2844128" y="3520135"/>
                </a:cubicBezTo>
                <a:cubicBezTo>
                  <a:pt x="2954459" y="3301060"/>
                  <a:pt x="3106066" y="2983559"/>
                  <a:pt x="3187028" y="2715272"/>
                </a:cubicBezTo>
                <a:cubicBezTo>
                  <a:pt x="3267990" y="2446985"/>
                  <a:pt x="3308472" y="2177903"/>
                  <a:pt x="3329903" y="1910410"/>
                </a:cubicBezTo>
                <a:cubicBezTo>
                  <a:pt x="3351334" y="1642917"/>
                  <a:pt x="3321172" y="1261122"/>
                  <a:pt x="3315616" y="1110310"/>
                </a:cubicBezTo>
                <a:cubicBezTo>
                  <a:pt x="3310060" y="959498"/>
                  <a:pt x="3308472" y="1041254"/>
                  <a:pt x="3296566" y="1005535"/>
                </a:cubicBezTo>
                <a:cubicBezTo>
                  <a:pt x="3284660" y="969816"/>
                  <a:pt x="3291803" y="976960"/>
                  <a:pt x="3244178" y="895997"/>
                </a:cubicBezTo>
                <a:cubicBezTo>
                  <a:pt x="3196553" y="815035"/>
                  <a:pt x="3100510" y="634854"/>
                  <a:pt x="3010816" y="519760"/>
                </a:cubicBezTo>
                <a:cubicBezTo>
                  <a:pt x="2921122" y="404666"/>
                  <a:pt x="2779041" y="272904"/>
                  <a:pt x="2706016" y="205435"/>
                </a:cubicBezTo>
                <a:cubicBezTo>
                  <a:pt x="2632991" y="137966"/>
                  <a:pt x="2609178" y="137172"/>
                  <a:pt x="2572666" y="114947"/>
                </a:cubicBezTo>
                <a:cubicBezTo>
                  <a:pt x="2536154" y="92722"/>
                  <a:pt x="2519485" y="85579"/>
                  <a:pt x="2486941" y="72085"/>
                </a:cubicBezTo>
                <a:cubicBezTo>
                  <a:pt x="2454397" y="58591"/>
                  <a:pt x="2414709" y="44304"/>
                  <a:pt x="2377403" y="33985"/>
                </a:cubicBezTo>
                <a:cubicBezTo>
                  <a:pt x="2340097" y="23666"/>
                  <a:pt x="2290091" y="13347"/>
                  <a:pt x="2263103" y="10172"/>
                </a:cubicBezTo>
                <a:cubicBezTo>
                  <a:pt x="2236115" y="6997"/>
                  <a:pt x="2209128" y="-13640"/>
                  <a:pt x="2196428" y="14935"/>
                </a:cubicBezTo>
                <a:close/>
              </a:path>
            </a:pathLst>
          </a:custGeom>
          <a:pattFill prst="pct80">
            <a:fgClr>
              <a:srgbClr val="EF7C00"/>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1" name="Freihandform 50"/>
          <p:cNvSpPr/>
          <p:nvPr/>
        </p:nvSpPr>
        <p:spPr>
          <a:xfrm>
            <a:off x="3306746" y="-18447196"/>
            <a:ext cx="13828338" cy="20815633"/>
          </a:xfrm>
          <a:custGeom>
            <a:avLst/>
            <a:gdLst>
              <a:gd name="connsiteX0" fmla="*/ 1940642 w 2995406"/>
              <a:gd name="connsiteY0" fmla="*/ 589687 h 4508948"/>
              <a:gd name="connsiteX1" fmla="*/ 1778717 w 2995406"/>
              <a:gd name="connsiteY1" fmla="*/ 1089749 h 4508948"/>
              <a:gd name="connsiteX2" fmla="*/ 1483442 w 2995406"/>
              <a:gd name="connsiteY2" fmla="*/ 1670774 h 4508948"/>
              <a:gd name="connsiteX3" fmla="*/ 1140542 w 2995406"/>
              <a:gd name="connsiteY3" fmla="*/ 2180362 h 4508948"/>
              <a:gd name="connsiteX4" fmla="*/ 692867 w 2995406"/>
              <a:gd name="connsiteY4" fmla="*/ 2689949 h 4508948"/>
              <a:gd name="connsiteX5" fmla="*/ 335680 w 2995406"/>
              <a:gd name="connsiteY5" fmla="*/ 3132862 h 4508948"/>
              <a:gd name="connsiteX6" fmla="*/ 126130 w 2995406"/>
              <a:gd name="connsiteY6" fmla="*/ 3480524 h 4508948"/>
              <a:gd name="connsiteX7" fmla="*/ 21355 w 2995406"/>
              <a:gd name="connsiteY7" fmla="*/ 3799612 h 4508948"/>
              <a:gd name="connsiteX8" fmla="*/ 26117 w 2995406"/>
              <a:gd name="connsiteY8" fmla="*/ 4128224 h 4508948"/>
              <a:gd name="connsiteX9" fmla="*/ 292817 w 2995406"/>
              <a:gd name="connsiteY9" fmla="*/ 4418737 h 4508948"/>
              <a:gd name="connsiteX10" fmla="*/ 878605 w 2995406"/>
              <a:gd name="connsiteY10" fmla="*/ 4490174 h 4508948"/>
              <a:gd name="connsiteX11" fmla="*/ 1678705 w 2995406"/>
              <a:gd name="connsiteY11" fmla="*/ 4113937 h 4508948"/>
              <a:gd name="connsiteX12" fmla="*/ 2274017 w 2995406"/>
              <a:gd name="connsiteY12" fmla="*/ 3466237 h 4508948"/>
              <a:gd name="connsiteX13" fmla="*/ 2635967 w 2995406"/>
              <a:gd name="connsiteY13" fmla="*/ 2851874 h 4508948"/>
              <a:gd name="connsiteX14" fmla="*/ 2874092 w 2995406"/>
              <a:gd name="connsiteY14" fmla="*/ 2166074 h 4508948"/>
              <a:gd name="connsiteX15" fmla="*/ 2993155 w 2995406"/>
              <a:gd name="connsiteY15" fmla="*/ 1408837 h 4508948"/>
              <a:gd name="connsiteX16" fmla="*/ 2936005 w 2995406"/>
              <a:gd name="connsiteY16" fmla="*/ 889724 h 4508948"/>
              <a:gd name="connsiteX17" fmla="*/ 2745505 w 2995406"/>
              <a:gd name="connsiteY17" fmla="*/ 437287 h 4508948"/>
              <a:gd name="connsiteX18" fmla="*/ 2426417 w 2995406"/>
              <a:gd name="connsiteY18" fmla="*/ 89624 h 4508948"/>
              <a:gd name="connsiteX19" fmla="*/ 2297830 w 2995406"/>
              <a:gd name="connsiteY19" fmla="*/ 8662 h 4508948"/>
              <a:gd name="connsiteX20" fmla="*/ 2226392 w 2995406"/>
              <a:gd name="connsiteY20" fmla="*/ 3899 h 4508948"/>
              <a:gd name="connsiteX21" fmla="*/ 2174005 w 2995406"/>
              <a:gd name="connsiteY21" fmla="*/ 22949 h 4508948"/>
              <a:gd name="connsiteX22" fmla="*/ 2097805 w 2995406"/>
              <a:gd name="connsiteY22" fmla="*/ 151537 h 4508948"/>
              <a:gd name="connsiteX23" fmla="*/ 1940642 w 2995406"/>
              <a:gd name="connsiteY23" fmla="*/ 589687 h 450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95406" h="4508948">
                <a:moveTo>
                  <a:pt x="1940642" y="589687"/>
                </a:moveTo>
                <a:cubicBezTo>
                  <a:pt x="1887461" y="746056"/>
                  <a:pt x="1854917" y="909568"/>
                  <a:pt x="1778717" y="1089749"/>
                </a:cubicBezTo>
                <a:cubicBezTo>
                  <a:pt x="1702517" y="1269930"/>
                  <a:pt x="1589804" y="1489005"/>
                  <a:pt x="1483442" y="1670774"/>
                </a:cubicBezTo>
                <a:cubicBezTo>
                  <a:pt x="1377080" y="1852543"/>
                  <a:pt x="1272304" y="2010500"/>
                  <a:pt x="1140542" y="2180362"/>
                </a:cubicBezTo>
                <a:cubicBezTo>
                  <a:pt x="1008780" y="2350224"/>
                  <a:pt x="827011" y="2531199"/>
                  <a:pt x="692867" y="2689949"/>
                </a:cubicBezTo>
                <a:cubicBezTo>
                  <a:pt x="558723" y="2848699"/>
                  <a:pt x="430136" y="3001100"/>
                  <a:pt x="335680" y="3132862"/>
                </a:cubicBezTo>
                <a:cubicBezTo>
                  <a:pt x="241224" y="3264625"/>
                  <a:pt x="178517" y="3369399"/>
                  <a:pt x="126130" y="3480524"/>
                </a:cubicBezTo>
                <a:cubicBezTo>
                  <a:pt x="73743" y="3591649"/>
                  <a:pt x="38024" y="3691662"/>
                  <a:pt x="21355" y="3799612"/>
                </a:cubicBezTo>
                <a:cubicBezTo>
                  <a:pt x="4686" y="3907562"/>
                  <a:pt x="-19127" y="4025036"/>
                  <a:pt x="26117" y="4128224"/>
                </a:cubicBezTo>
                <a:cubicBezTo>
                  <a:pt x="71361" y="4231412"/>
                  <a:pt x="150736" y="4358412"/>
                  <a:pt x="292817" y="4418737"/>
                </a:cubicBezTo>
                <a:cubicBezTo>
                  <a:pt x="434898" y="4479062"/>
                  <a:pt x="647624" y="4540974"/>
                  <a:pt x="878605" y="4490174"/>
                </a:cubicBezTo>
                <a:cubicBezTo>
                  <a:pt x="1109586" y="4439374"/>
                  <a:pt x="1446136" y="4284593"/>
                  <a:pt x="1678705" y="4113937"/>
                </a:cubicBezTo>
                <a:cubicBezTo>
                  <a:pt x="1911274" y="3943281"/>
                  <a:pt x="2114473" y="3676581"/>
                  <a:pt x="2274017" y="3466237"/>
                </a:cubicBezTo>
                <a:cubicBezTo>
                  <a:pt x="2433561" y="3255893"/>
                  <a:pt x="2535955" y="3068568"/>
                  <a:pt x="2635967" y="2851874"/>
                </a:cubicBezTo>
                <a:cubicBezTo>
                  <a:pt x="2735979" y="2635180"/>
                  <a:pt x="2814561" y="2406580"/>
                  <a:pt x="2874092" y="2166074"/>
                </a:cubicBezTo>
                <a:cubicBezTo>
                  <a:pt x="2933623" y="1925568"/>
                  <a:pt x="2982836" y="1621562"/>
                  <a:pt x="2993155" y="1408837"/>
                </a:cubicBezTo>
                <a:cubicBezTo>
                  <a:pt x="3003474" y="1196112"/>
                  <a:pt x="2977280" y="1051649"/>
                  <a:pt x="2936005" y="889724"/>
                </a:cubicBezTo>
                <a:cubicBezTo>
                  <a:pt x="2894730" y="727799"/>
                  <a:pt x="2830436" y="570637"/>
                  <a:pt x="2745505" y="437287"/>
                </a:cubicBezTo>
                <a:cubicBezTo>
                  <a:pt x="2660574" y="303937"/>
                  <a:pt x="2501030" y="161061"/>
                  <a:pt x="2426417" y="89624"/>
                </a:cubicBezTo>
                <a:cubicBezTo>
                  <a:pt x="2351805" y="18186"/>
                  <a:pt x="2331167" y="22949"/>
                  <a:pt x="2297830" y="8662"/>
                </a:cubicBezTo>
                <a:cubicBezTo>
                  <a:pt x="2264493" y="-5625"/>
                  <a:pt x="2247030" y="1518"/>
                  <a:pt x="2226392" y="3899"/>
                </a:cubicBezTo>
                <a:cubicBezTo>
                  <a:pt x="2205755" y="6280"/>
                  <a:pt x="2195436" y="-1657"/>
                  <a:pt x="2174005" y="22949"/>
                </a:cubicBezTo>
                <a:cubicBezTo>
                  <a:pt x="2152574" y="47555"/>
                  <a:pt x="2135905" y="57875"/>
                  <a:pt x="2097805" y="151537"/>
                </a:cubicBezTo>
                <a:cubicBezTo>
                  <a:pt x="2059705" y="245199"/>
                  <a:pt x="1993823" y="433318"/>
                  <a:pt x="1940642" y="589687"/>
                </a:cubicBezTo>
                <a:close/>
              </a:path>
            </a:pathLst>
          </a:cu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2" name="Freihandform 51"/>
          <p:cNvSpPr/>
          <p:nvPr/>
        </p:nvSpPr>
        <p:spPr>
          <a:xfrm>
            <a:off x="6022722" y="-20241369"/>
            <a:ext cx="6260552" cy="13481310"/>
          </a:xfrm>
          <a:custGeom>
            <a:avLst/>
            <a:gdLst>
              <a:gd name="connsiteX0" fmla="*/ 1347562 w 1356120"/>
              <a:gd name="connsiteY0" fmla="*/ 11541 h 2920235"/>
              <a:gd name="connsiteX1" fmla="*/ 1333274 w 1356120"/>
              <a:gd name="connsiteY1" fmla="*/ 330629 h 2920235"/>
              <a:gd name="connsiteX2" fmla="*/ 1290412 w 1356120"/>
              <a:gd name="connsiteY2" fmla="*/ 792591 h 2920235"/>
              <a:gd name="connsiteX3" fmla="*/ 1147537 w 1356120"/>
              <a:gd name="connsiteY3" fmla="*/ 1364091 h 2920235"/>
              <a:gd name="connsiteX4" fmla="*/ 718912 w 1356120"/>
              <a:gd name="connsiteY4" fmla="*/ 2164191 h 2920235"/>
              <a:gd name="connsiteX5" fmla="*/ 185512 w 1356120"/>
              <a:gd name="connsiteY5" fmla="*/ 2764266 h 2920235"/>
              <a:gd name="connsiteX6" fmla="*/ 9299 w 1356120"/>
              <a:gd name="connsiteY6" fmla="*/ 2911904 h 2920235"/>
              <a:gd name="connsiteX7" fmla="*/ 37874 w 1356120"/>
              <a:gd name="connsiteY7" fmla="*/ 2888091 h 2920235"/>
              <a:gd name="connsiteX8" fmla="*/ 152174 w 1356120"/>
              <a:gd name="connsiteY8" fmla="*/ 2773791 h 2920235"/>
              <a:gd name="connsiteX9" fmla="*/ 685574 w 1356120"/>
              <a:gd name="connsiteY9" fmla="*/ 2087991 h 2920235"/>
              <a:gd name="connsiteX10" fmla="*/ 1028474 w 1356120"/>
              <a:gd name="connsiteY10" fmla="*/ 1411716 h 2920235"/>
              <a:gd name="connsiteX11" fmla="*/ 1199924 w 1356120"/>
              <a:gd name="connsiteY11" fmla="*/ 744966 h 2920235"/>
              <a:gd name="connsiteX12" fmla="*/ 1347562 w 1356120"/>
              <a:gd name="connsiteY12" fmla="*/ 11541 h 292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6120" h="2920235">
                <a:moveTo>
                  <a:pt x="1347562" y="11541"/>
                </a:moveTo>
                <a:cubicBezTo>
                  <a:pt x="1369787" y="-57515"/>
                  <a:pt x="1342799" y="200454"/>
                  <a:pt x="1333274" y="330629"/>
                </a:cubicBezTo>
                <a:cubicBezTo>
                  <a:pt x="1323749" y="460804"/>
                  <a:pt x="1321368" y="620347"/>
                  <a:pt x="1290412" y="792591"/>
                </a:cubicBezTo>
                <a:cubicBezTo>
                  <a:pt x="1259456" y="964835"/>
                  <a:pt x="1242787" y="1135491"/>
                  <a:pt x="1147537" y="1364091"/>
                </a:cubicBezTo>
                <a:cubicBezTo>
                  <a:pt x="1052287" y="1592691"/>
                  <a:pt x="879249" y="1930829"/>
                  <a:pt x="718912" y="2164191"/>
                </a:cubicBezTo>
                <a:cubicBezTo>
                  <a:pt x="558575" y="2397553"/>
                  <a:pt x="303781" y="2639647"/>
                  <a:pt x="185512" y="2764266"/>
                </a:cubicBezTo>
                <a:cubicBezTo>
                  <a:pt x="67243" y="2888885"/>
                  <a:pt x="33905" y="2891267"/>
                  <a:pt x="9299" y="2911904"/>
                </a:cubicBezTo>
                <a:cubicBezTo>
                  <a:pt x="-15307" y="2932542"/>
                  <a:pt x="14062" y="2911110"/>
                  <a:pt x="37874" y="2888091"/>
                </a:cubicBezTo>
                <a:cubicBezTo>
                  <a:pt x="61686" y="2865072"/>
                  <a:pt x="44224" y="2907141"/>
                  <a:pt x="152174" y="2773791"/>
                </a:cubicBezTo>
                <a:cubicBezTo>
                  <a:pt x="260124" y="2640441"/>
                  <a:pt x="539524" y="2315004"/>
                  <a:pt x="685574" y="2087991"/>
                </a:cubicBezTo>
                <a:cubicBezTo>
                  <a:pt x="831624" y="1860979"/>
                  <a:pt x="942749" y="1635553"/>
                  <a:pt x="1028474" y="1411716"/>
                </a:cubicBezTo>
                <a:cubicBezTo>
                  <a:pt x="1114199" y="1187879"/>
                  <a:pt x="1148330" y="976741"/>
                  <a:pt x="1199924" y="744966"/>
                </a:cubicBezTo>
                <a:cubicBezTo>
                  <a:pt x="1251518" y="513191"/>
                  <a:pt x="1325337" y="80597"/>
                  <a:pt x="1347562" y="11541"/>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3" name="Freihandform 52"/>
          <p:cNvSpPr/>
          <p:nvPr/>
        </p:nvSpPr>
        <p:spPr>
          <a:xfrm>
            <a:off x="1315703" y="-6407542"/>
            <a:ext cx="4394667" cy="8426055"/>
          </a:xfrm>
          <a:custGeom>
            <a:avLst/>
            <a:gdLst>
              <a:gd name="connsiteX0" fmla="*/ 943178 w 951944"/>
              <a:gd name="connsiteY0" fmla="*/ 5796 h 1825198"/>
              <a:gd name="connsiteX1" fmla="*/ 666953 w 951944"/>
              <a:gd name="connsiteY1" fmla="*/ 367746 h 1825198"/>
              <a:gd name="connsiteX2" fmla="*/ 366916 w 951944"/>
              <a:gd name="connsiteY2" fmla="*/ 867809 h 1825198"/>
              <a:gd name="connsiteX3" fmla="*/ 247853 w 951944"/>
              <a:gd name="connsiteY3" fmla="*/ 1191659 h 1825198"/>
              <a:gd name="connsiteX4" fmla="*/ 171653 w 951944"/>
              <a:gd name="connsiteY4" fmla="*/ 1605996 h 1825198"/>
              <a:gd name="connsiteX5" fmla="*/ 185941 w 951944"/>
              <a:gd name="connsiteY5" fmla="*/ 1753634 h 1825198"/>
              <a:gd name="connsiteX6" fmla="*/ 185941 w 951944"/>
              <a:gd name="connsiteY6" fmla="*/ 1801259 h 1825198"/>
              <a:gd name="connsiteX7" fmla="*/ 185941 w 951944"/>
              <a:gd name="connsiteY7" fmla="*/ 1825071 h 1825198"/>
              <a:gd name="connsiteX8" fmla="*/ 176416 w 951944"/>
              <a:gd name="connsiteY8" fmla="*/ 1791734 h 1825198"/>
              <a:gd name="connsiteX9" fmla="*/ 128791 w 951944"/>
              <a:gd name="connsiteY9" fmla="*/ 1663146 h 1825198"/>
              <a:gd name="connsiteX10" fmla="*/ 203 w 951944"/>
              <a:gd name="connsiteY10" fmla="*/ 1353584 h 1825198"/>
              <a:gd name="connsiteX11" fmla="*/ 104978 w 951944"/>
              <a:gd name="connsiteY11" fmla="*/ 1001159 h 1825198"/>
              <a:gd name="connsiteX12" fmla="*/ 324053 w 951944"/>
              <a:gd name="connsiteY12" fmla="*/ 658259 h 1825198"/>
              <a:gd name="connsiteX13" fmla="*/ 943178 w 951944"/>
              <a:gd name="connsiteY13" fmla="*/ 5796 h 1825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1944" h="1825198">
                <a:moveTo>
                  <a:pt x="943178" y="5796"/>
                </a:moveTo>
                <a:cubicBezTo>
                  <a:pt x="1000328" y="-42623"/>
                  <a:pt x="762997" y="224077"/>
                  <a:pt x="666953" y="367746"/>
                </a:cubicBezTo>
                <a:cubicBezTo>
                  <a:pt x="570909" y="511415"/>
                  <a:pt x="436766" y="730490"/>
                  <a:pt x="366916" y="867809"/>
                </a:cubicBezTo>
                <a:cubicBezTo>
                  <a:pt x="297066" y="1005128"/>
                  <a:pt x="280397" y="1068628"/>
                  <a:pt x="247853" y="1191659"/>
                </a:cubicBezTo>
                <a:cubicBezTo>
                  <a:pt x="215309" y="1314690"/>
                  <a:pt x="181972" y="1512333"/>
                  <a:pt x="171653" y="1605996"/>
                </a:cubicBezTo>
                <a:cubicBezTo>
                  <a:pt x="161334" y="1699659"/>
                  <a:pt x="183560" y="1721090"/>
                  <a:pt x="185941" y="1753634"/>
                </a:cubicBezTo>
                <a:cubicBezTo>
                  <a:pt x="188322" y="1786178"/>
                  <a:pt x="185941" y="1801259"/>
                  <a:pt x="185941" y="1801259"/>
                </a:cubicBezTo>
                <a:cubicBezTo>
                  <a:pt x="185941" y="1813165"/>
                  <a:pt x="187528" y="1826658"/>
                  <a:pt x="185941" y="1825071"/>
                </a:cubicBezTo>
                <a:cubicBezTo>
                  <a:pt x="184354" y="1823484"/>
                  <a:pt x="185941" y="1818721"/>
                  <a:pt x="176416" y="1791734"/>
                </a:cubicBezTo>
                <a:cubicBezTo>
                  <a:pt x="166891" y="1764747"/>
                  <a:pt x="158160" y="1736171"/>
                  <a:pt x="128791" y="1663146"/>
                </a:cubicBezTo>
                <a:cubicBezTo>
                  <a:pt x="99422" y="1590121"/>
                  <a:pt x="4172" y="1463915"/>
                  <a:pt x="203" y="1353584"/>
                </a:cubicBezTo>
                <a:cubicBezTo>
                  <a:pt x="-3766" y="1243253"/>
                  <a:pt x="51003" y="1117046"/>
                  <a:pt x="104978" y="1001159"/>
                </a:cubicBezTo>
                <a:cubicBezTo>
                  <a:pt x="158953" y="885272"/>
                  <a:pt x="189115" y="822565"/>
                  <a:pt x="324053" y="658259"/>
                </a:cubicBezTo>
                <a:cubicBezTo>
                  <a:pt x="458990" y="493953"/>
                  <a:pt x="886028" y="54215"/>
                  <a:pt x="943178" y="5796"/>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4" name="Freihandform 53"/>
          <p:cNvSpPr/>
          <p:nvPr/>
        </p:nvSpPr>
        <p:spPr>
          <a:xfrm>
            <a:off x="2209981" y="1134882"/>
            <a:ext cx="9382550" cy="2786522"/>
          </a:xfrm>
          <a:custGeom>
            <a:avLst/>
            <a:gdLst>
              <a:gd name="connsiteX0" fmla="*/ 1754 w 2032388"/>
              <a:gd name="connsiteY0" fmla="*/ 200805 h 603598"/>
              <a:gd name="connsiteX1" fmla="*/ 258929 w 2032388"/>
              <a:gd name="connsiteY1" fmla="*/ 305580 h 603598"/>
              <a:gd name="connsiteX2" fmla="*/ 749466 w 2032388"/>
              <a:gd name="connsiteY2" fmla="*/ 405593 h 603598"/>
              <a:gd name="connsiteX3" fmla="*/ 1249529 w 2032388"/>
              <a:gd name="connsiteY3" fmla="*/ 367493 h 603598"/>
              <a:gd name="connsiteX4" fmla="*/ 1716254 w 2032388"/>
              <a:gd name="connsiteY4" fmla="*/ 191280 h 603598"/>
              <a:gd name="connsiteX5" fmla="*/ 1901991 w 2032388"/>
              <a:gd name="connsiteY5" fmla="*/ 86505 h 603598"/>
              <a:gd name="connsiteX6" fmla="*/ 1982954 w 2032388"/>
              <a:gd name="connsiteY6" fmla="*/ 43643 h 603598"/>
              <a:gd name="connsiteX7" fmla="*/ 2030579 w 2032388"/>
              <a:gd name="connsiteY7" fmla="*/ 780 h 603598"/>
              <a:gd name="connsiteX8" fmla="*/ 2016291 w 2032388"/>
              <a:gd name="connsiteY8" fmla="*/ 19830 h 603598"/>
              <a:gd name="connsiteX9" fmla="*/ 1959141 w 2032388"/>
              <a:gd name="connsiteY9" fmla="*/ 67455 h 603598"/>
              <a:gd name="connsiteX10" fmla="*/ 1897229 w 2032388"/>
              <a:gd name="connsiteY10" fmla="*/ 119843 h 603598"/>
              <a:gd name="connsiteX11" fmla="*/ 1254291 w 2032388"/>
              <a:gd name="connsiteY11" fmla="*/ 481793 h 603598"/>
              <a:gd name="connsiteX12" fmla="*/ 773279 w 2032388"/>
              <a:gd name="connsiteY12" fmla="*/ 600855 h 603598"/>
              <a:gd name="connsiteX13" fmla="*/ 377991 w 2032388"/>
              <a:gd name="connsiteY13" fmla="*/ 534180 h 603598"/>
              <a:gd name="connsiteX14" fmla="*/ 1754 w 2032388"/>
              <a:gd name="connsiteY14" fmla="*/ 200805 h 60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32388" h="603598">
                <a:moveTo>
                  <a:pt x="1754" y="200805"/>
                </a:moveTo>
                <a:cubicBezTo>
                  <a:pt x="-18090" y="162705"/>
                  <a:pt x="134310" y="271449"/>
                  <a:pt x="258929" y="305580"/>
                </a:cubicBezTo>
                <a:cubicBezTo>
                  <a:pt x="383548" y="339711"/>
                  <a:pt x="584366" y="395274"/>
                  <a:pt x="749466" y="405593"/>
                </a:cubicBezTo>
                <a:cubicBezTo>
                  <a:pt x="914566" y="415912"/>
                  <a:pt x="1088398" y="403212"/>
                  <a:pt x="1249529" y="367493"/>
                </a:cubicBezTo>
                <a:cubicBezTo>
                  <a:pt x="1410660" y="331774"/>
                  <a:pt x="1607510" y="238111"/>
                  <a:pt x="1716254" y="191280"/>
                </a:cubicBezTo>
                <a:cubicBezTo>
                  <a:pt x="1824998" y="144449"/>
                  <a:pt x="1857541" y="111111"/>
                  <a:pt x="1901991" y="86505"/>
                </a:cubicBezTo>
                <a:cubicBezTo>
                  <a:pt x="1946441" y="61899"/>
                  <a:pt x="1961523" y="57930"/>
                  <a:pt x="1982954" y="43643"/>
                </a:cubicBezTo>
                <a:cubicBezTo>
                  <a:pt x="2004385" y="29356"/>
                  <a:pt x="2030579" y="780"/>
                  <a:pt x="2030579" y="780"/>
                </a:cubicBezTo>
                <a:cubicBezTo>
                  <a:pt x="2036135" y="-3189"/>
                  <a:pt x="2028197" y="8718"/>
                  <a:pt x="2016291" y="19830"/>
                </a:cubicBezTo>
                <a:cubicBezTo>
                  <a:pt x="2004385" y="30942"/>
                  <a:pt x="1959141" y="67455"/>
                  <a:pt x="1959141" y="67455"/>
                </a:cubicBezTo>
                <a:cubicBezTo>
                  <a:pt x="1939297" y="84124"/>
                  <a:pt x="2014704" y="50787"/>
                  <a:pt x="1897229" y="119843"/>
                </a:cubicBezTo>
                <a:cubicBezTo>
                  <a:pt x="1779754" y="188899"/>
                  <a:pt x="1441616" y="401624"/>
                  <a:pt x="1254291" y="481793"/>
                </a:cubicBezTo>
                <a:cubicBezTo>
                  <a:pt x="1066966" y="561962"/>
                  <a:pt x="919329" y="592124"/>
                  <a:pt x="773279" y="600855"/>
                </a:cubicBezTo>
                <a:cubicBezTo>
                  <a:pt x="627229" y="609586"/>
                  <a:pt x="506578" y="600061"/>
                  <a:pt x="377991" y="534180"/>
                </a:cubicBezTo>
                <a:cubicBezTo>
                  <a:pt x="249404" y="468299"/>
                  <a:pt x="21598" y="238905"/>
                  <a:pt x="1754" y="20080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5" name="Freihandform 54"/>
          <p:cNvSpPr/>
          <p:nvPr/>
        </p:nvSpPr>
        <p:spPr>
          <a:xfrm>
            <a:off x="11576312" y="-15613168"/>
            <a:ext cx="6308498" cy="16820944"/>
          </a:xfrm>
          <a:custGeom>
            <a:avLst/>
            <a:gdLst>
              <a:gd name="connsiteX0" fmla="*/ 1270117 w 1366507"/>
              <a:gd name="connsiteY0" fmla="*/ 9135 h 3643644"/>
              <a:gd name="connsiteX1" fmla="*/ 1301867 w 1366507"/>
              <a:gd name="connsiteY1" fmla="*/ 644135 h 3643644"/>
              <a:gd name="connsiteX2" fmla="*/ 1181217 w 1366507"/>
              <a:gd name="connsiteY2" fmla="*/ 1628385 h 3643644"/>
              <a:gd name="connsiteX3" fmla="*/ 863717 w 1366507"/>
              <a:gd name="connsiteY3" fmla="*/ 2422135 h 3643644"/>
              <a:gd name="connsiteX4" fmla="*/ 450967 w 1366507"/>
              <a:gd name="connsiteY4" fmla="*/ 3101585 h 3643644"/>
              <a:gd name="connsiteX5" fmla="*/ 38217 w 1366507"/>
              <a:gd name="connsiteY5" fmla="*/ 3603235 h 3643644"/>
              <a:gd name="connsiteX6" fmla="*/ 31867 w 1366507"/>
              <a:gd name="connsiteY6" fmla="*/ 3603235 h 3643644"/>
              <a:gd name="connsiteX7" fmla="*/ 158867 w 1366507"/>
              <a:gd name="connsiteY7" fmla="*/ 3520685 h 3643644"/>
              <a:gd name="connsiteX8" fmla="*/ 882767 w 1366507"/>
              <a:gd name="connsiteY8" fmla="*/ 2561835 h 3643644"/>
              <a:gd name="connsiteX9" fmla="*/ 1212967 w 1366507"/>
              <a:gd name="connsiteY9" fmla="*/ 1844285 h 3643644"/>
              <a:gd name="connsiteX10" fmla="*/ 1365367 w 1366507"/>
              <a:gd name="connsiteY10" fmla="*/ 1114035 h 3643644"/>
              <a:gd name="connsiteX11" fmla="*/ 1270117 w 1366507"/>
              <a:gd name="connsiteY11" fmla="*/ 9135 h 364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6507" h="3643644">
                <a:moveTo>
                  <a:pt x="1270117" y="9135"/>
                </a:moveTo>
                <a:cubicBezTo>
                  <a:pt x="1259534" y="-69182"/>
                  <a:pt x="1316684" y="374260"/>
                  <a:pt x="1301867" y="644135"/>
                </a:cubicBezTo>
                <a:cubicBezTo>
                  <a:pt x="1287050" y="914010"/>
                  <a:pt x="1254242" y="1332052"/>
                  <a:pt x="1181217" y="1628385"/>
                </a:cubicBezTo>
                <a:cubicBezTo>
                  <a:pt x="1108192" y="1924718"/>
                  <a:pt x="985425" y="2176602"/>
                  <a:pt x="863717" y="2422135"/>
                </a:cubicBezTo>
                <a:cubicBezTo>
                  <a:pt x="742009" y="2667668"/>
                  <a:pt x="588550" y="2904735"/>
                  <a:pt x="450967" y="3101585"/>
                </a:cubicBezTo>
                <a:cubicBezTo>
                  <a:pt x="313384" y="3298435"/>
                  <a:pt x="38217" y="3603235"/>
                  <a:pt x="38217" y="3603235"/>
                </a:cubicBezTo>
                <a:cubicBezTo>
                  <a:pt x="-31633" y="3686843"/>
                  <a:pt x="11759" y="3616993"/>
                  <a:pt x="31867" y="3603235"/>
                </a:cubicBezTo>
                <a:cubicBezTo>
                  <a:pt x="51975" y="3589477"/>
                  <a:pt x="17050" y="3694252"/>
                  <a:pt x="158867" y="3520685"/>
                </a:cubicBezTo>
                <a:cubicBezTo>
                  <a:pt x="300684" y="3347118"/>
                  <a:pt x="707084" y="2841235"/>
                  <a:pt x="882767" y="2561835"/>
                </a:cubicBezTo>
                <a:cubicBezTo>
                  <a:pt x="1058450" y="2282435"/>
                  <a:pt x="1132534" y="2085585"/>
                  <a:pt x="1212967" y="1844285"/>
                </a:cubicBezTo>
                <a:cubicBezTo>
                  <a:pt x="1293400" y="1602985"/>
                  <a:pt x="1352667" y="1415660"/>
                  <a:pt x="1365367" y="1114035"/>
                </a:cubicBezTo>
                <a:cubicBezTo>
                  <a:pt x="1378067" y="812410"/>
                  <a:pt x="1280700" y="87452"/>
                  <a:pt x="1270117" y="9135"/>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6" name="Freihandform 55"/>
          <p:cNvSpPr/>
          <p:nvPr/>
        </p:nvSpPr>
        <p:spPr>
          <a:xfrm>
            <a:off x="12300505" y="-21620616"/>
            <a:ext cx="4978309" cy="5702212"/>
          </a:xfrm>
          <a:custGeom>
            <a:avLst/>
            <a:gdLst>
              <a:gd name="connsiteX0" fmla="*/ 1996 w 1078369"/>
              <a:gd name="connsiteY0" fmla="*/ 307129 h 1235176"/>
              <a:gd name="connsiteX1" fmla="*/ 116296 w 1078369"/>
              <a:gd name="connsiteY1" fmla="*/ 319829 h 1235176"/>
              <a:gd name="connsiteX2" fmla="*/ 287746 w 1078369"/>
              <a:gd name="connsiteY2" fmla="*/ 370629 h 1235176"/>
              <a:gd name="connsiteX3" fmla="*/ 503646 w 1078369"/>
              <a:gd name="connsiteY3" fmla="*/ 484929 h 1235176"/>
              <a:gd name="connsiteX4" fmla="*/ 770346 w 1078369"/>
              <a:gd name="connsiteY4" fmla="*/ 764329 h 1235176"/>
              <a:gd name="connsiteX5" fmla="*/ 1024346 w 1078369"/>
              <a:gd name="connsiteY5" fmla="*/ 1138979 h 1235176"/>
              <a:gd name="connsiteX6" fmla="*/ 1056096 w 1078369"/>
              <a:gd name="connsiteY6" fmla="*/ 1189779 h 1235176"/>
              <a:gd name="connsiteX7" fmla="*/ 1075146 w 1078369"/>
              <a:gd name="connsiteY7" fmla="*/ 1234229 h 1235176"/>
              <a:gd name="connsiteX8" fmla="*/ 1075146 w 1078369"/>
              <a:gd name="connsiteY8" fmla="*/ 1215179 h 1235176"/>
              <a:gd name="connsiteX9" fmla="*/ 1043396 w 1078369"/>
              <a:gd name="connsiteY9" fmla="*/ 1158029 h 1235176"/>
              <a:gd name="connsiteX10" fmla="*/ 681446 w 1078369"/>
              <a:gd name="connsiteY10" fmla="*/ 497629 h 1235176"/>
              <a:gd name="connsiteX11" fmla="*/ 427446 w 1078369"/>
              <a:gd name="connsiteY11" fmla="*/ 167429 h 1235176"/>
              <a:gd name="connsiteX12" fmla="*/ 211546 w 1078369"/>
              <a:gd name="connsiteY12" fmla="*/ 2329 h 1235176"/>
              <a:gd name="connsiteX13" fmla="*/ 1996 w 1078369"/>
              <a:gd name="connsiteY13" fmla="*/ 307129 h 123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8369" h="1235176">
                <a:moveTo>
                  <a:pt x="1996" y="307129"/>
                </a:moveTo>
                <a:cubicBezTo>
                  <a:pt x="-13879" y="360046"/>
                  <a:pt x="68671" y="309246"/>
                  <a:pt x="116296" y="319829"/>
                </a:cubicBezTo>
                <a:cubicBezTo>
                  <a:pt x="163921" y="330412"/>
                  <a:pt x="223188" y="343112"/>
                  <a:pt x="287746" y="370629"/>
                </a:cubicBezTo>
                <a:cubicBezTo>
                  <a:pt x="352304" y="398146"/>
                  <a:pt x="423213" y="419312"/>
                  <a:pt x="503646" y="484929"/>
                </a:cubicBezTo>
                <a:cubicBezTo>
                  <a:pt x="584079" y="550546"/>
                  <a:pt x="683563" y="655321"/>
                  <a:pt x="770346" y="764329"/>
                </a:cubicBezTo>
                <a:cubicBezTo>
                  <a:pt x="857129" y="873337"/>
                  <a:pt x="976721" y="1068071"/>
                  <a:pt x="1024346" y="1138979"/>
                </a:cubicBezTo>
                <a:cubicBezTo>
                  <a:pt x="1071971" y="1209887"/>
                  <a:pt x="1047629" y="1173904"/>
                  <a:pt x="1056096" y="1189779"/>
                </a:cubicBezTo>
                <a:cubicBezTo>
                  <a:pt x="1064563" y="1205654"/>
                  <a:pt x="1075146" y="1234229"/>
                  <a:pt x="1075146" y="1234229"/>
                </a:cubicBezTo>
                <a:cubicBezTo>
                  <a:pt x="1078321" y="1238462"/>
                  <a:pt x="1080438" y="1227879"/>
                  <a:pt x="1075146" y="1215179"/>
                </a:cubicBezTo>
                <a:cubicBezTo>
                  <a:pt x="1069854" y="1202479"/>
                  <a:pt x="1043396" y="1158029"/>
                  <a:pt x="1043396" y="1158029"/>
                </a:cubicBezTo>
                <a:cubicBezTo>
                  <a:pt x="977779" y="1038437"/>
                  <a:pt x="784104" y="662729"/>
                  <a:pt x="681446" y="497629"/>
                </a:cubicBezTo>
                <a:cubicBezTo>
                  <a:pt x="578788" y="332529"/>
                  <a:pt x="505763" y="249979"/>
                  <a:pt x="427446" y="167429"/>
                </a:cubicBezTo>
                <a:cubicBezTo>
                  <a:pt x="349129" y="84879"/>
                  <a:pt x="280338" y="-16721"/>
                  <a:pt x="211546" y="2329"/>
                </a:cubicBezTo>
                <a:cubicBezTo>
                  <a:pt x="142754" y="21379"/>
                  <a:pt x="17871" y="254212"/>
                  <a:pt x="1996" y="307129"/>
                </a:cubicBezTo>
                <a:close/>
              </a:path>
            </a:pathLst>
          </a:cu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7" name="Freihandform 56"/>
          <p:cNvSpPr/>
          <p:nvPr/>
        </p:nvSpPr>
        <p:spPr>
          <a:xfrm>
            <a:off x="2193115" y="1412608"/>
            <a:ext cx="9116758" cy="3251617"/>
          </a:xfrm>
          <a:custGeom>
            <a:avLst/>
            <a:gdLst>
              <a:gd name="connsiteX0" fmla="*/ 2032 w 3886206"/>
              <a:gd name="connsiteY0" fmla="*/ 257291 h 1386070"/>
              <a:gd name="connsiteX1" fmla="*/ 82994 w 3886206"/>
              <a:gd name="connsiteY1" fmla="*/ 566854 h 1386070"/>
              <a:gd name="connsiteX2" fmla="*/ 140144 w 3886206"/>
              <a:gd name="connsiteY2" fmla="*/ 733541 h 1386070"/>
              <a:gd name="connsiteX3" fmla="*/ 230632 w 3886206"/>
              <a:gd name="connsiteY3" fmla="*/ 928804 h 1386070"/>
              <a:gd name="connsiteX4" fmla="*/ 373507 w 3886206"/>
              <a:gd name="connsiteY4" fmla="*/ 1071679 h 1386070"/>
              <a:gd name="connsiteX5" fmla="*/ 568769 w 3886206"/>
              <a:gd name="connsiteY5" fmla="*/ 1224079 h 1386070"/>
              <a:gd name="connsiteX6" fmla="*/ 840232 w 3886206"/>
              <a:gd name="connsiteY6" fmla="*/ 1333616 h 1386070"/>
              <a:gd name="connsiteX7" fmla="*/ 1287907 w 3886206"/>
              <a:gd name="connsiteY7" fmla="*/ 1386004 h 1386070"/>
              <a:gd name="connsiteX8" fmla="*/ 1930844 w 3886206"/>
              <a:gd name="connsiteY8" fmla="*/ 1324091 h 1386070"/>
              <a:gd name="connsiteX9" fmla="*/ 2559494 w 3886206"/>
              <a:gd name="connsiteY9" fmla="*/ 1095491 h 1386070"/>
              <a:gd name="connsiteX10" fmla="*/ 2969069 w 3886206"/>
              <a:gd name="connsiteY10" fmla="*/ 795454 h 1386070"/>
              <a:gd name="connsiteX11" fmla="*/ 3654869 w 3886206"/>
              <a:gd name="connsiteY11" fmla="*/ 219191 h 1386070"/>
              <a:gd name="connsiteX12" fmla="*/ 3759644 w 3886206"/>
              <a:gd name="connsiteY12" fmla="*/ 133466 h 1386070"/>
              <a:gd name="connsiteX13" fmla="*/ 3864419 w 3886206"/>
              <a:gd name="connsiteY13" fmla="*/ 33454 h 1386070"/>
              <a:gd name="connsiteX14" fmla="*/ 3878707 w 3886206"/>
              <a:gd name="connsiteY14" fmla="*/ 19166 h 1386070"/>
              <a:gd name="connsiteX15" fmla="*/ 3883469 w 3886206"/>
              <a:gd name="connsiteY15" fmla="*/ 116 h 1386070"/>
              <a:gd name="connsiteX16" fmla="*/ 3835844 w 3886206"/>
              <a:gd name="connsiteY16" fmla="*/ 28691 h 1386070"/>
              <a:gd name="connsiteX17" fmla="*/ 3764407 w 3886206"/>
              <a:gd name="connsiteY17" fmla="*/ 85841 h 1386070"/>
              <a:gd name="connsiteX18" fmla="*/ 3521519 w 3886206"/>
              <a:gd name="connsiteY18" fmla="*/ 252529 h 1386070"/>
              <a:gd name="connsiteX19" fmla="*/ 3016694 w 3886206"/>
              <a:gd name="connsiteY19" fmla="*/ 543041 h 1386070"/>
              <a:gd name="connsiteX20" fmla="*/ 2535682 w 3886206"/>
              <a:gd name="connsiteY20" fmla="*/ 800216 h 1386070"/>
              <a:gd name="connsiteX21" fmla="*/ 1911794 w 3886206"/>
              <a:gd name="connsiteY21" fmla="*/ 1014529 h 1386070"/>
              <a:gd name="connsiteX22" fmla="*/ 1502219 w 3886206"/>
              <a:gd name="connsiteY22" fmla="*/ 1062154 h 1386070"/>
              <a:gd name="connsiteX23" fmla="*/ 1035494 w 3886206"/>
              <a:gd name="connsiteY23" fmla="*/ 1043104 h 1386070"/>
              <a:gd name="connsiteX24" fmla="*/ 630682 w 3886206"/>
              <a:gd name="connsiteY24" fmla="*/ 866891 h 1386070"/>
              <a:gd name="connsiteX25" fmla="*/ 325882 w 3886206"/>
              <a:gd name="connsiteY25" fmla="*/ 604954 h 1386070"/>
              <a:gd name="connsiteX26" fmla="*/ 173482 w 3886206"/>
              <a:gd name="connsiteY26" fmla="*/ 443029 h 1386070"/>
              <a:gd name="connsiteX27" fmla="*/ 2032 w 3886206"/>
              <a:gd name="connsiteY27" fmla="*/ 257291 h 138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86206" h="1386070">
                <a:moveTo>
                  <a:pt x="2032" y="257291"/>
                </a:moveTo>
                <a:cubicBezTo>
                  <a:pt x="-13049" y="277928"/>
                  <a:pt x="59975" y="487479"/>
                  <a:pt x="82994" y="566854"/>
                </a:cubicBezTo>
                <a:cubicBezTo>
                  <a:pt x="106013" y="646229"/>
                  <a:pt x="115538" y="673216"/>
                  <a:pt x="140144" y="733541"/>
                </a:cubicBezTo>
                <a:cubicBezTo>
                  <a:pt x="164750" y="793866"/>
                  <a:pt x="191738" y="872448"/>
                  <a:pt x="230632" y="928804"/>
                </a:cubicBezTo>
                <a:cubicBezTo>
                  <a:pt x="269526" y="985160"/>
                  <a:pt x="317151" y="1022467"/>
                  <a:pt x="373507" y="1071679"/>
                </a:cubicBezTo>
                <a:cubicBezTo>
                  <a:pt x="429863" y="1120891"/>
                  <a:pt x="490982" y="1180423"/>
                  <a:pt x="568769" y="1224079"/>
                </a:cubicBezTo>
                <a:cubicBezTo>
                  <a:pt x="646557" y="1267735"/>
                  <a:pt x="720376" y="1306629"/>
                  <a:pt x="840232" y="1333616"/>
                </a:cubicBezTo>
                <a:cubicBezTo>
                  <a:pt x="960088" y="1360604"/>
                  <a:pt x="1106138" y="1387591"/>
                  <a:pt x="1287907" y="1386004"/>
                </a:cubicBezTo>
                <a:cubicBezTo>
                  <a:pt x="1469676" y="1384417"/>
                  <a:pt x="1718913" y="1372510"/>
                  <a:pt x="1930844" y="1324091"/>
                </a:cubicBezTo>
                <a:cubicBezTo>
                  <a:pt x="2142775" y="1275672"/>
                  <a:pt x="2386457" y="1183597"/>
                  <a:pt x="2559494" y="1095491"/>
                </a:cubicBezTo>
                <a:cubicBezTo>
                  <a:pt x="2732532" y="1007385"/>
                  <a:pt x="2786507" y="941504"/>
                  <a:pt x="2969069" y="795454"/>
                </a:cubicBezTo>
                <a:cubicBezTo>
                  <a:pt x="3151631" y="649404"/>
                  <a:pt x="3523107" y="329522"/>
                  <a:pt x="3654869" y="219191"/>
                </a:cubicBezTo>
                <a:cubicBezTo>
                  <a:pt x="3786631" y="108860"/>
                  <a:pt x="3724719" y="164422"/>
                  <a:pt x="3759644" y="133466"/>
                </a:cubicBezTo>
                <a:cubicBezTo>
                  <a:pt x="3794569" y="102510"/>
                  <a:pt x="3864419" y="33454"/>
                  <a:pt x="3864419" y="33454"/>
                </a:cubicBezTo>
                <a:cubicBezTo>
                  <a:pt x="3884263" y="14404"/>
                  <a:pt x="3878707" y="19166"/>
                  <a:pt x="3878707" y="19166"/>
                </a:cubicBezTo>
                <a:cubicBezTo>
                  <a:pt x="3881882" y="13610"/>
                  <a:pt x="3890613" y="-1472"/>
                  <a:pt x="3883469" y="116"/>
                </a:cubicBezTo>
                <a:cubicBezTo>
                  <a:pt x="3876325" y="1703"/>
                  <a:pt x="3855688" y="14404"/>
                  <a:pt x="3835844" y="28691"/>
                </a:cubicBezTo>
                <a:cubicBezTo>
                  <a:pt x="3816000" y="42978"/>
                  <a:pt x="3816794" y="48535"/>
                  <a:pt x="3764407" y="85841"/>
                </a:cubicBezTo>
                <a:cubicBezTo>
                  <a:pt x="3712020" y="123147"/>
                  <a:pt x="3646138" y="176329"/>
                  <a:pt x="3521519" y="252529"/>
                </a:cubicBezTo>
                <a:cubicBezTo>
                  <a:pt x="3396900" y="328729"/>
                  <a:pt x="3181000" y="451760"/>
                  <a:pt x="3016694" y="543041"/>
                </a:cubicBezTo>
                <a:cubicBezTo>
                  <a:pt x="2852388" y="634322"/>
                  <a:pt x="2719832" y="721635"/>
                  <a:pt x="2535682" y="800216"/>
                </a:cubicBezTo>
                <a:cubicBezTo>
                  <a:pt x="2351532" y="878797"/>
                  <a:pt x="2084038" y="970873"/>
                  <a:pt x="1911794" y="1014529"/>
                </a:cubicBezTo>
                <a:cubicBezTo>
                  <a:pt x="1739550" y="1058185"/>
                  <a:pt x="1648269" y="1057392"/>
                  <a:pt x="1502219" y="1062154"/>
                </a:cubicBezTo>
                <a:lnTo>
                  <a:pt x="1035494" y="1043104"/>
                </a:lnTo>
                <a:cubicBezTo>
                  <a:pt x="890238" y="1010560"/>
                  <a:pt x="748951" y="939916"/>
                  <a:pt x="630682" y="866891"/>
                </a:cubicBezTo>
                <a:cubicBezTo>
                  <a:pt x="512413" y="793866"/>
                  <a:pt x="402082" y="675598"/>
                  <a:pt x="325882" y="604954"/>
                </a:cubicBezTo>
                <a:cubicBezTo>
                  <a:pt x="249682" y="534310"/>
                  <a:pt x="223488" y="497004"/>
                  <a:pt x="173482" y="443029"/>
                </a:cubicBezTo>
                <a:cubicBezTo>
                  <a:pt x="123476" y="389054"/>
                  <a:pt x="17113" y="236654"/>
                  <a:pt x="2032" y="257291"/>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8" name="Freihandform 57"/>
          <p:cNvSpPr/>
          <p:nvPr/>
        </p:nvSpPr>
        <p:spPr>
          <a:xfrm>
            <a:off x="518061" y="-6396680"/>
            <a:ext cx="5098599" cy="8395525"/>
          </a:xfrm>
          <a:custGeom>
            <a:avLst/>
            <a:gdLst>
              <a:gd name="connsiteX0" fmla="*/ 2173384 w 2173384"/>
              <a:gd name="connsiteY0" fmla="*/ 0 h 3578765"/>
              <a:gd name="connsiteX1" fmla="*/ 1797146 w 2173384"/>
              <a:gd name="connsiteY1" fmla="*/ 314325 h 3578765"/>
              <a:gd name="connsiteX2" fmla="*/ 1211359 w 2173384"/>
              <a:gd name="connsiteY2" fmla="*/ 776287 h 3578765"/>
              <a:gd name="connsiteX3" fmla="*/ 687484 w 2173384"/>
              <a:gd name="connsiteY3" fmla="*/ 1233487 h 3578765"/>
              <a:gd name="connsiteX4" fmla="*/ 287434 w 2173384"/>
              <a:gd name="connsiteY4" fmla="*/ 1676400 h 3578765"/>
              <a:gd name="connsiteX5" fmla="*/ 44546 w 2173384"/>
              <a:gd name="connsiteY5" fmla="*/ 2176462 h 3578765"/>
              <a:gd name="connsiteX6" fmla="*/ 1684 w 2173384"/>
              <a:gd name="connsiteY6" fmla="*/ 2543175 h 3578765"/>
              <a:gd name="connsiteX7" fmla="*/ 68359 w 2173384"/>
              <a:gd name="connsiteY7" fmla="*/ 2890837 h 3578765"/>
              <a:gd name="connsiteX8" fmla="*/ 301721 w 2173384"/>
              <a:gd name="connsiteY8" fmla="*/ 3205162 h 3578765"/>
              <a:gd name="connsiteX9" fmla="*/ 611284 w 2173384"/>
              <a:gd name="connsiteY9" fmla="*/ 3495675 h 3578765"/>
              <a:gd name="connsiteX10" fmla="*/ 630334 w 2173384"/>
              <a:gd name="connsiteY10" fmla="*/ 3514725 h 3578765"/>
              <a:gd name="connsiteX11" fmla="*/ 658909 w 2173384"/>
              <a:gd name="connsiteY11" fmla="*/ 3543300 h 3578765"/>
              <a:gd name="connsiteX12" fmla="*/ 677959 w 2173384"/>
              <a:gd name="connsiteY12" fmla="*/ 3567112 h 3578765"/>
              <a:gd name="connsiteX13" fmla="*/ 701771 w 2173384"/>
              <a:gd name="connsiteY13" fmla="*/ 3571875 h 3578765"/>
              <a:gd name="connsiteX14" fmla="*/ 668434 w 2173384"/>
              <a:gd name="connsiteY14" fmla="*/ 3471862 h 3578765"/>
              <a:gd name="connsiteX15" fmla="*/ 544609 w 2173384"/>
              <a:gd name="connsiteY15" fmla="*/ 3176587 h 3578765"/>
              <a:gd name="connsiteX16" fmla="*/ 406496 w 2173384"/>
              <a:gd name="connsiteY16" fmla="*/ 2895600 h 3578765"/>
              <a:gd name="connsiteX17" fmla="*/ 349346 w 2173384"/>
              <a:gd name="connsiteY17" fmla="*/ 2686050 h 3578765"/>
              <a:gd name="connsiteX18" fmla="*/ 344584 w 2173384"/>
              <a:gd name="connsiteY18" fmla="*/ 2562225 h 3578765"/>
              <a:gd name="connsiteX19" fmla="*/ 439834 w 2173384"/>
              <a:gd name="connsiteY19" fmla="*/ 2190750 h 3578765"/>
              <a:gd name="connsiteX20" fmla="*/ 582709 w 2173384"/>
              <a:gd name="connsiteY20" fmla="*/ 1881187 h 3578765"/>
              <a:gd name="connsiteX21" fmla="*/ 725584 w 2173384"/>
              <a:gd name="connsiteY21" fmla="*/ 1624012 h 3578765"/>
              <a:gd name="connsiteX22" fmla="*/ 997046 w 2173384"/>
              <a:gd name="connsiteY22" fmla="*/ 1257300 h 3578765"/>
              <a:gd name="connsiteX23" fmla="*/ 1258984 w 2173384"/>
              <a:gd name="connsiteY23" fmla="*/ 971550 h 3578765"/>
              <a:gd name="connsiteX24" fmla="*/ 1587596 w 2173384"/>
              <a:gd name="connsiteY24" fmla="*/ 623887 h 3578765"/>
              <a:gd name="connsiteX25" fmla="*/ 2173384 w 2173384"/>
              <a:gd name="connsiteY25" fmla="*/ 0 h 357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73384" h="3578765">
                <a:moveTo>
                  <a:pt x="2173384" y="0"/>
                </a:moveTo>
                <a:cubicBezTo>
                  <a:pt x="2065434" y="92472"/>
                  <a:pt x="1957484" y="184944"/>
                  <a:pt x="1797146" y="314325"/>
                </a:cubicBezTo>
                <a:cubicBezTo>
                  <a:pt x="1636808" y="443706"/>
                  <a:pt x="1396303" y="623093"/>
                  <a:pt x="1211359" y="776287"/>
                </a:cubicBezTo>
                <a:cubicBezTo>
                  <a:pt x="1026415" y="929481"/>
                  <a:pt x="841471" y="1083468"/>
                  <a:pt x="687484" y="1233487"/>
                </a:cubicBezTo>
                <a:cubicBezTo>
                  <a:pt x="533497" y="1383506"/>
                  <a:pt x="394590" y="1519238"/>
                  <a:pt x="287434" y="1676400"/>
                </a:cubicBezTo>
                <a:cubicBezTo>
                  <a:pt x="180278" y="1833562"/>
                  <a:pt x="92171" y="2032000"/>
                  <a:pt x="44546" y="2176462"/>
                </a:cubicBezTo>
                <a:cubicBezTo>
                  <a:pt x="-3079" y="2320924"/>
                  <a:pt x="-2285" y="2424113"/>
                  <a:pt x="1684" y="2543175"/>
                </a:cubicBezTo>
                <a:cubicBezTo>
                  <a:pt x="5653" y="2662237"/>
                  <a:pt x="18353" y="2780506"/>
                  <a:pt x="68359" y="2890837"/>
                </a:cubicBezTo>
                <a:cubicBezTo>
                  <a:pt x="118365" y="3001168"/>
                  <a:pt x="211234" y="3104356"/>
                  <a:pt x="301721" y="3205162"/>
                </a:cubicBezTo>
                <a:cubicBezTo>
                  <a:pt x="392208" y="3305968"/>
                  <a:pt x="611284" y="3495675"/>
                  <a:pt x="611284" y="3495675"/>
                </a:cubicBezTo>
                <a:cubicBezTo>
                  <a:pt x="666053" y="3547269"/>
                  <a:pt x="630334" y="3514725"/>
                  <a:pt x="630334" y="3514725"/>
                </a:cubicBezTo>
                <a:cubicBezTo>
                  <a:pt x="638271" y="3522662"/>
                  <a:pt x="650972" y="3534569"/>
                  <a:pt x="658909" y="3543300"/>
                </a:cubicBezTo>
                <a:cubicBezTo>
                  <a:pt x="666846" y="3552031"/>
                  <a:pt x="670815" y="3562350"/>
                  <a:pt x="677959" y="3567112"/>
                </a:cubicBezTo>
                <a:cubicBezTo>
                  <a:pt x="685103" y="3571874"/>
                  <a:pt x="703358" y="3587750"/>
                  <a:pt x="701771" y="3571875"/>
                </a:cubicBezTo>
                <a:cubicBezTo>
                  <a:pt x="700183" y="3556000"/>
                  <a:pt x="694628" y="3537743"/>
                  <a:pt x="668434" y="3471862"/>
                </a:cubicBezTo>
                <a:cubicBezTo>
                  <a:pt x="642240" y="3405981"/>
                  <a:pt x="588265" y="3272631"/>
                  <a:pt x="544609" y="3176587"/>
                </a:cubicBezTo>
                <a:cubicBezTo>
                  <a:pt x="500953" y="3080543"/>
                  <a:pt x="439040" y="2977356"/>
                  <a:pt x="406496" y="2895600"/>
                </a:cubicBezTo>
                <a:cubicBezTo>
                  <a:pt x="373952" y="2813844"/>
                  <a:pt x="359665" y="2741612"/>
                  <a:pt x="349346" y="2686050"/>
                </a:cubicBezTo>
                <a:cubicBezTo>
                  <a:pt x="339027" y="2630488"/>
                  <a:pt x="329503" y="2644775"/>
                  <a:pt x="344584" y="2562225"/>
                </a:cubicBezTo>
                <a:cubicBezTo>
                  <a:pt x="359665" y="2479675"/>
                  <a:pt x="400146" y="2304256"/>
                  <a:pt x="439834" y="2190750"/>
                </a:cubicBezTo>
                <a:cubicBezTo>
                  <a:pt x="479521" y="2077244"/>
                  <a:pt x="535084" y="1975643"/>
                  <a:pt x="582709" y="1881187"/>
                </a:cubicBezTo>
                <a:cubicBezTo>
                  <a:pt x="630334" y="1786731"/>
                  <a:pt x="656528" y="1727993"/>
                  <a:pt x="725584" y="1624012"/>
                </a:cubicBezTo>
                <a:cubicBezTo>
                  <a:pt x="794640" y="1520031"/>
                  <a:pt x="908146" y="1366044"/>
                  <a:pt x="997046" y="1257300"/>
                </a:cubicBezTo>
                <a:cubicBezTo>
                  <a:pt x="1085946" y="1148556"/>
                  <a:pt x="1160559" y="1077119"/>
                  <a:pt x="1258984" y="971550"/>
                </a:cubicBezTo>
                <a:cubicBezTo>
                  <a:pt x="1357409" y="865981"/>
                  <a:pt x="1587596" y="623887"/>
                  <a:pt x="1587596" y="623887"/>
                </a:cubicBezTo>
                <a:lnTo>
                  <a:pt x="2173384" y="0"/>
                </a:ln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9" name="Freihandform 58"/>
          <p:cNvSpPr/>
          <p:nvPr/>
        </p:nvSpPr>
        <p:spPr>
          <a:xfrm>
            <a:off x="12245532" y="-22745624"/>
            <a:ext cx="4993397" cy="6760930"/>
          </a:xfrm>
          <a:custGeom>
            <a:avLst/>
            <a:gdLst>
              <a:gd name="connsiteX0" fmla="*/ 9898 w 2128539"/>
              <a:gd name="connsiteY0" fmla="*/ 1087387 h 2881986"/>
              <a:gd name="connsiteX1" fmla="*/ 2278 w 2128539"/>
              <a:gd name="connsiteY1" fmla="*/ 790207 h 2881986"/>
              <a:gd name="connsiteX2" fmla="*/ 32758 w 2128539"/>
              <a:gd name="connsiteY2" fmla="*/ 447307 h 2881986"/>
              <a:gd name="connsiteX3" fmla="*/ 139438 w 2128539"/>
              <a:gd name="connsiteY3" fmla="*/ 134887 h 2881986"/>
              <a:gd name="connsiteX4" fmla="*/ 284218 w 2128539"/>
              <a:gd name="connsiteY4" fmla="*/ 12967 h 2881986"/>
              <a:gd name="connsiteX5" fmla="*/ 390898 w 2128539"/>
              <a:gd name="connsiteY5" fmla="*/ 12967 h 2881986"/>
              <a:gd name="connsiteX6" fmla="*/ 520438 w 2128539"/>
              <a:gd name="connsiteY6" fmla="*/ 96787 h 2881986"/>
              <a:gd name="connsiteX7" fmla="*/ 665218 w 2128539"/>
              <a:gd name="connsiteY7" fmla="*/ 211087 h 2881986"/>
              <a:gd name="connsiteX8" fmla="*/ 779518 w 2128539"/>
              <a:gd name="connsiteY8" fmla="*/ 294907 h 2881986"/>
              <a:gd name="connsiteX9" fmla="*/ 1053838 w 2128539"/>
              <a:gd name="connsiteY9" fmla="*/ 599707 h 2881986"/>
              <a:gd name="connsiteX10" fmla="*/ 1236718 w 2128539"/>
              <a:gd name="connsiteY10" fmla="*/ 813067 h 2881986"/>
              <a:gd name="connsiteX11" fmla="*/ 1427218 w 2128539"/>
              <a:gd name="connsiteY11" fmla="*/ 1163587 h 2881986"/>
              <a:gd name="connsiteX12" fmla="*/ 1632958 w 2128539"/>
              <a:gd name="connsiteY12" fmla="*/ 1521727 h 2881986"/>
              <a:gd name="connsiteX13" fmla="*/ 1869178 w 2128539"/>
              <a:gd name="connsiteY13" fmla="*/ 2131327 h 2881986"/>
              <a:gd name="connsiteX14" fmla="*/ 1952998 w 2128539"/>
              <a:gd name="connsiteY14" fmla="*/ 2337067 h 2881986"/>
              <a:gd name="connsiteX15" fmla="*/ 2090158 w 2128539"/>
              <a:gd name="connsiteY15" fmla="*/ 2725687 h 2881986"/>
              <a:gd name="connsiteX16" fmla="*/ 2128258 w 2128539"/>
              <a:gd name="connsiteY16" fmla="*/ 2878087 h 2881986"/>
              <a:gd name="connsiteX17" fmla="*/ 2105398 w 2128539"/>
              <a:gd name="connsiteY17" fmla="*/ 2824747 h 2881986"/>
              <a:gd name="connsiteX18" fmla="*/ 2067298 w 2128539"/>
              <a:gd name="connsiteY18" fmla="*/ 2695207 h 2881986"/>
              <a:gd name="connsiteX19" fmla="*/ 1762498 w 2128539"/>
              <a:gd name="connsiteY19" fmla="*/ 2177047 h 2881986"/>
              <a:gd name="connsiteX20" fmla="*/ 1450078 w 2128539"/>
              <a:gd name="connsiteY20" fmla="*/ 1590307 h 2881986"/>
              <a:gd name="connsiteX21" fmla="*/ 1190998 w 2128539"/>
              <a:gd name="connsiteY21" fmla="*/ 1186447 h 2881986"/>
              <a:gd name="connsiteX22" fmla="*/ 878578 w 2128539"/>
              <a:gd name="connsiteY22" fmla="*/ 805447 h 2881986"/>
              <a:gd name="connsiteX23" fmla="*/ 695698 w 2128539"/>
              <a:gd name="connsiteY23" fmla="*/ 614947 h 2881986"/>
              <a:gd name="connsiteX24" fmla="*/ 611878 w 2128539"/>
              <a:gd name="connsiteY24" fmla="*/ 515887 h 2881986"/>
              <a:gd name="connsiteX25" fmla="*/ 482338 w 2128539"/>
              <a:gd name="connsiteY25" fmla="*/ 477787 h 2881986"/>
              <a:gd name="connsiteX26" fmla="*/ 390898 w 2128539"/>
              <a:gd name="connsiteY26" fmla="*/ 493027 h 2881986"/>
              <a:gd name="connsiteX27" fmla="*/ 345178 w 2128539"/>
              <a:gd name="connsiteY27" fmla="*/ 546367 h 2881986"/>
              <a:gd name="connsiteX28" fmla="*/ 261358 w 2128539"/>
              <a:gd name="connsiteY28" fmla="*/ 630187 h 2881986"/>
              <a:gd name="connsiteX29" fmla="*/ 185158 w 2128539"/>
              <a:gd name="connsiteY29" fmla="*/ 782587 h 2881986"/>
              <a:gd name="connsiteX30" fmla="*/ 70858 w 2128539"/>
              <a:gd name="connsiteY30" fmla="*/ 965467 h 2881986"/>
              <a:gd name="connsiteX31" fmla="*/ 9898 w 2128539"/>
              <a:gd name="connsiteY31" fmla="*/ 1087387 h 288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28539" h="2881986">
                <a:moveTo>
                  <a:pt x="9898" y="1087387"/>
                </a:moveTo>
                <a:cubicBezTo>
                  <a:pt x="-1532" y="1058177"/>
                  <a:pt x="-1532" y="896887"/>
                  <a:pt x="2278" y="790207"/>
                </a:cubicBezTo>
                <a:cubicBezTo>
                  <a:pt x="6088" y="683527"/>
                  <a:pt x="9898" y="556527"/>
                  <a:pt x="32758" y="447307"/>
                </a:cubicBezTo>
                <a:cubicBezTo>
                  <a:pt x="55618" y="338087"/>
                  <a:pt x="97528" y="207277"/>
                  <a:pt x="139438" y="134887"/>
                </a:cubicBezTo>
                <a:cubicBezTo>
                  <a:pt x="181348" y="62497"/>
                  <a:pt x="242308" y="33287"/>
                  <a:pt x="284218" y="12967"/>
                </a:cubicBezTo>
                <a:cubicBezTo>
                  <a:pt x="326128" y="-7353"/>
                  <a:pt x="351528" y="-1003"/>
                  <a:pt x="390898" y="12967"/>
                </a:cubicBezTo>
                <a:cubicBezTo>
                  <a:pt x="430268" y="26937"/>
                  <a:pt x="474718" y="63767"/>
                  <a:pt x="520438" y="96787"/>
                </a:cubicBezTo>
                <a:cubicBezTo>
                  <a:pt x="566158" y="129807"/>
                  <a:pt x="622038" y="178067"/>
                  <a:pt x="665218" y="211087"/>
                </a:cubicBezTo>
                <a:cubicBezTo>
                  <a:pt x="708398" y="244107"/>
                  <a:pt x="714748" y="230137"/>
                  <a:pt x="779518" y="294907"/>
                </a:cubicBezTo>
                <a:cubicBezTo>
                  <a:pt x="844288" y="359677"/>
                  <a:pt x="977638" y="513347"/>
                  <a:pt x="1053838" y="599707"/>
                </a:cubicBezTo>
                <a:cubicBezTo>
                  <a:pt x="1130038" y="686067"/>
                  <a:pt x="1174488" y="719087"/>
                  <a:pt x="1236718" y="813067"/>
                </a:cubicBezTo>
                <a:cubicBezTo>
                  <a:pt x="1298948" y="907047"/>
                  <a:pt x="1361178" y="1045477"/>
                  <a:pt x="1427218" y="1163587"/>
                </a:cubicBezTo>
                <a:cubicBezTo>
                  <a:pt x="1493258" y="1281697"/>
                  <a:pt x="1559298" y="1360437"/>
                  <a:pt x="1632958" y="1521727"/>
                </a:cubicBezTo>
                <a:cubicBezTo>
                  <a:pt x="1706618" y="1683017"/>
                  <a:pt x="1815838" y="1995437"/>
                  <a:pt x="1869178" y="2131327"/>
                </a:cubicBezTo>
                <a:cubicBezTo>
                  <a:pt x="1922518" y="2267217"/>
                  <a:pt x="1916168" y="2238007"/>
                  <a:pt x="1952998" y="2337067"/>
                </a:cubicBezTo>
                <a:cubicBezTo>
                  <a:pt x="1989828" y="2436127"/>
                  <a:pt x="2060948" y="2635517"/>
                  <a:pt x="2090158" y="2725687"/>
                </a:cubicBezTo>
                <a:cubicBezTo>
                  <a:pt x="2119368" y="2815857"/>
                  <a:pt x="2125718" y="2861577"/>
                  <a:pt x="2128258" y="2878087"/>
                </a:cubicBezTo>
                <a:cubicBezTo>
                  <a:pt x="2130798" y="2894597"/>
                  <a:pt x="2115558" y="2855227"/>
                  <a:pt x="2105398" y="2824747"/>
                </a:cubicBezTo>
                <a:cubicBezTo>
                  <a:pt x="2095238" y="2794267"/>
                  <a:pt x="2124448" y="2803157"/>
                  <a:pt x="2067298" y="2695207"/>
                </a:cubicBezTo>
                <a:cubicBezTo>
                  <a:pt x="2010148" y="2587257"/>
                  <a:pt x="1865368" y="2361197"/>
                  <a:pt x="1762498" y="2177047"/>
                </a:cubicBezTo>
                <a:cubicBezTo>
                  <a:pt x="1659628" y="1992897"/>
                  <a:pt x="1545328" y="1755407"/>
                  <a:pt x="1450078" y="1590307"/>
                </a:cubicBezTo>
                <a:cubicBezTo>
                  <a:pt x="1354828" y="1425207"/>
                  <a:pt x="1286248" y="1317257"/>
                  <a:pt x="1190998" y="1186447"/>
                </a:cubicBezTo>
                <a:cubicBezTo>
                  <a:pt x="1095748" y="1055637"/>
                  <a:pt x="961128" y="900697"/>
                  <a:pt x="878578" y="805447"/>
                </a:cubicBezTo>
                <a:cubicBezTo>
                  <a:pt x="796028" y="710197"/>
                  <a:pt x="740148" y="663207"/>
                  <a:pt x="695698" y="614947"/>
                </a:cubicBezTo>
                <a:cubicBezTo>
                  <a:pt x="651248" y="566687"/>
                  <a:pt x="647438" y="538747"/>
                  <a:pt x="611878" y="515887"/>
                </a:cubicBezTo>
                <a:cubicBezTo>
                  <a:pt x="576318" y="493027"/>
                  <a:pt x="519168" y="481597"/>
                  <a:pt x="482338" y="477787"/>
                </a:cubicBezTo>
                <a:cubicBezTo>
                  <a:pt x="445508" y="473977"/>
                  <a:pt x="413758" y="481597"/>
                  <a:pt x="390898" y="493027"/>
                </a:cubicBezTo>
                <a:cubicBezTo>
                  <a:pt x="368038" y="504457"/>
                  <a:pt x="366768" y="523507"/>
                  <a:pt x="345178" y="546367"/>
                </a:cubicBezTo>
                <a:cubicBezTo>
                  <a:pt x="323588" y="569227"/>
                  <a:pt x="288028" y="590817"/>
                  <a:pt x="261358" y="630187"/>
                </a:cubicBezTo>
                <a:cubicBezTo>
                  <a:pt x="234688" y="669557"/>
                  <a:pt x="216908" y="726707"/>
                  <a:pt x="185158" y="782587"/>
                </a:cubicBezTo>
                <a:cubicBezTo>
                  <a:pt x="153408" y="838467"/>
                  <a:pt x="97528" y="919747"/>
                  <a:pt x="70858" y="965467"/>
                </a:cubicBezTo>
                <a:cubicBezTo>
                  <a:pt x="44188" y="1011187"/>
                  <a:pt x="21328" y="1116597"/>
                  <a:pt x="9898" y="1087387"/>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0" name="Freihandform 59"/>
          <p:cNvSpPr/>
          <p:nvPr/>
        </p:nvSpPr>
        <p:spPr>
          <a:xfrm>
            <a:off x="5939127" y="-20201574"/>
            <a:ext cx="6303927" cy="13503253"/>
          </a:xfrm>
          <a:custGeom>
            <a:avLst/>
            <a:gdLst>
              <a:gd name="connsiteX0" fmla="*/ 653 w 2687179"/>
              <a:gd name="connsiteY0" fmla="*/ 5756032 h 5756040"/>
              <a:gd name="connsiteX1" fmla="*/ 229253 w 2687179"/>
              <a:gd name="connsiteY1" fmla="*/ 5489332 h 5756040"/>
              <a:gd name="connsiteX2" fmla="*/ 595013 w 2687179"/>
              <a:gd name="connsiteY2" fmla="*/ 5016892 h 5756040"/>
              <a:gd name="connsiteX3" fmla="*/ 998873 w 2687179"/>
              <a:gd name="connsiteY3" fmla="*/ 4453012 h 5756040"/>
              <a:gd name="connsiteX4" fmla="*/ 1326533 w 2687179"/>
              <a:gd name="connsiteY4" fmla="*/ 3927232 h 5756040"/>
              <a:gd name="connsiteX5" fmla="*/ 1654193 w 2687179"/>
              <a:gd name="connsiteY5" fmla="*/ 3317632 h 5756040"/>
              <a:gd name="connsiteX6" fmla="*/ 1928513 w 2687179"/>
              <a:gd name="connsiteY6" fmla="*/ 2639452 h 5756040"/>
              <a:gd name="connsiteX7" fmla="*/ 2202833 w 2687179"/>
              <a:gd name="connsiteY7" fmla="*/ 1488832 h 5756040"/>
              <a:gd name="connsiteX8" fmla="*/ 2309513 w 2687179"/>
              <a:gd name="connsiteY8" fmla="*/ 909712 h 5756040"/>
              <a:gd name="connsiteX9" fmla="*/ 2400953 w 2687179"/>
              <a:gd name="connsiteY9" fmla="*/ 513472 h 5756040"/>
              <a:gd name="connsiteX10" fmla="*/ 2446673 w 2687179"/>
              <a:gd name="connsiteY10" fmla="*/ 269632 h 5756040"/>
              <a:gd name="connsiteX11" fmla="*/ 2507633 w 2687179"/>
              <a:gd name="connsiteY11" fmla="*/ 140092 h 5756040"/>
              <a:gd name="connsiteX12" fmla="*/ 2560973 w 2687179"/>
              <a:gd name="connsiteY12" fmla="*/ 63892 h 5756040"/>
              <a:gd name="connsiteX13" fmla="*/ 2591453 w 2687179"/>
              <a:gd name="connsiteY13" fmla="*/ 18172 h 5756040"/>
              <a:gd name="connsiteX14" fmla="*/ 2621933 w 2687179"/>
              <a:gd name="connsiteY14" fmla="*/ 2932 h 5756040"/>
              <a:gd name="connsiteX15" fmla="*/ 2629553 w 2687179"/>
              <a:gd name="connsiteY15" fmla="*/ 2932 h 5756040"/>
              <a:gd name="connsiteX16" fmla="*/ 2682893 w 2687179"/>
              <a:gd name="connsiteY16" fmla="*/ 33412 h 5756040"/>
              <a:gd name="connsiteX17" fmla="*/ 2675273 w 2687179"/>
              <a:gd name="connsiteY17" fmla="*/ 79132 h 5756040"/>
              <a:gd name="connsiteX18" fmla="*/ 2606693 w 2687179"/>
              <a:gd name="connsiteY18" fmla="*/ 383932 h 5756040"/>
              <a:gd name="connsiteX19" fmla="*/ 2522873 w 2687179"/>
              <a:gd name="connsiteY19" fmla="*/ 848752 h 5756040"/>
              <a:gd name="connsiteX20" fmla="*/ 2439053 w 2687179"/>
              <a:gd name="connsiteY20" fmla="*/ 1260232 h 5756040"/>
              <a:gd name="connsiteX21" fmla="*/ 2362853 w 2687179"/>
              <a:gd name="connsiteY21" fmla="*/ 1603132 h 5756040"/>
              <a:gd name="connsiteX22" fmla="*/ 2195213 w 2687179"/>
              <a:gd name="connsiteY22" fmla="*/ 2357512 h 5756040"/>
              <a:gd name="connsiteX23" fmla="*/ 1936133 w 2687179"/>
              <a:gd name="connsiteY23" fmla="*/ 3058552 h 5756040"/>
              <a:gd name="connsiteX24" fmla="*/ 1669433 w 2687179"/>
              <a:gd name="connsiteY24" fmla="*/ 3622432 h 5756040"/>
              <a:gd name="connsiteX25" fmla="*/ 1288433 w 2687179"/>
              <a:gd name="connsiteY25" fmla="*/ 4247272 h 5756040"/>
              <a:gd name="connsiteX26" fmla="*/ 983633 w 2687179"/>
              <a:gd name="connsiteY26" fmla="*/ 4635892 h 5756040"/>
              <a:gd name="connsiteX27" fmla="*/ 617873 w 2687179"/>
              <a:gd name="connsiteY27" fmla="*/ 5115952 h 5756040"/>
              <a:gd name="connsiteX28" fmla="*/ 297833 w 2687179"/>
              <a:gd name="connsiteY28" fmla="*/ 5496952 h 5756040"/>
              <a:gd name="connsiteX29" fmla="*/ 653 w 2687179"/>
              <a:gd name="connsiteY29" fmla="*/ 5756032 h 575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687179" h="5756040">
                <a:moveTo>
                  <a:pt x="653" y="5756032"/>
                </a:moveTo>
                <a:cubicBezTo>
                  <a:pt x="-10777" y="5754762"/>
                  <a:pt x="130193" y="5612522"/>
                  <a:pt x="229253" y="5489332"/>
                </a:cubicBezTo>
                <a:cubicBezTo>
                  <a:pt x="328313" y="5366142"/>
                  <a:pt x="466743" y="5189612"/>
                  <a:pt x="595013" y="5016892"/>
                </a:cubicBezTo>
                <a:cubicBezTo>
                  <a:pt x="723283" y="4844172"/>
                  <a:pt x="876953" y="4634622"/>
                  <a:pt x="998873" y="4453012"/>
                </a:cubicBezTo>
                <a:cubicBezTo>
                  <a:pt x="1120793" y="4271402"/>
                  <a:pt x="1217313" y="4116462"/>
                  <a:pt x="1326533" y="3927232"/>
                </a:cubicBezTo>
                <a:cubicBezTo>
                  <a:pt x="1435753" y="3738002"/>
                  <a:pt x="1553863" y="3532262"/>
                  <a:pt x="1654193" y="3317632"/>
                </a:cubicBezTo>
                <a:cubicBezTo>
                  <a:pt x="1754523" y="3103002"/>
                  <a:pt x="1837073" y="2944252"/>
                  <a:pt x="1928513" y="2639452"/>
                </a:cubicBezTo>
                <a:cubicBezTo>
                  <a:pt x="2019953" y="2334652"/>
                  <a:pt x="2139333" y="1777122"/>
                  <a:pt x="2202833" y="1488832"/>
                </a:cubicBezTo>
                <a:cubicBezTo>
                  <a:pt x="2266333" y="1200542"/>
                  <a:pt x="2276493" y="1072272"/>
                  <a:pt x="2309513" y="909712"/>
                </a:cubicBezTo>
                <a:cubicBezTo>
                  <a:pt x="2342533" y="747152"/>
                  <a:pt x="2378093" y="620152"/>
                  <a:pt x="2400953" y="513472"/>
                </a:cubicBezTo>
                <a:cubicBezTo>
                  <a:pt x="2423813" y="406792"/>
                  <a:pt x="2428893" y="331862"/>
                  <a:pt x="2446673" y="269632"/>
                </a:cubicBezTo>
                <a:cubicBezTo>
                  <a:pt x="2464453" y="207402"/>
                  <a:pt x="2488583" y="174382"/>
                  <a:pt x="2507633" y="140092"/>
                </a:cubicBezTo>
                <a:cubicBezTo>
                  <a:pt x="2526683" y="105802"/>
                  <a:pt x="2547003" y="84212"/>
                  <a:pt x="2560973" y="63892"/>
                </a:cubicBezTo>
                <a:cubicBezTo>
                  <a:pt x="2574943" y="43572"/>
                  <a:pt x="2591453" y="18172"/>
                  <a:pt x="2591453" y="18172"/>
                </a:cubicBezTo>
                <a:cubicBezTo>
                  <a:pt x="2601613" y="8012"/>
                  <a:pt x="2621933" y="2932"/>
                  <a:pt x="2621933" y="2932"/>
                </a:cubicBezTo>
                <a:cubicBezTo>
                  <a:pt x="2628283" y="392"/>
                  <a:pt x="2619393" y="-2148"/>
                  <a:pt x="2629553" y="2932"/>
                </a:cubicBezTo>
                <a:cubicBezTo>
                  <a:pt x="2639713" y="8012"/>
                  <a:pt x="2675273" y="20712"/>
                  <a:pt x="2682893" y="33412"/>
                </a:cubicBezTo>
                <a:cubicBezTo>
                  <a:pt x="2690513" y="46112"/>
                  <a:pt x="2687973" y="20712"/>
                  <a:pt x="2675273" y="79132"/>
                </a:cubicBezTo>
                <a:cubicBezTo>
                  <a:pt x="2662573" y="137552"/>
                  <a:pt x="2632093" y="255662"/>
                  <a:pt x="2606693" y="383932"/>
                </a:cubicBezTo>
                <a:cubicBezTo>
                  <a:pt x="2581293" y="512202"/>
                  <a:pt x="2550813" y="702702"/>
                  <a:pt x="2522873" y="848752"/>
                </a:cubicBezTo>
                <a:cubicBezTo>
                  <a:pt x="2494933" y="994802"/>
                  <a:pt x="2465723" y="1134502"/>
                  <a:pt x="2439053" y="1260232"/>
                </a:cubicBezTo>
                <a:cubicBezTo>
                  <a:pt x="2412383" y="1385962"/>
                  <a:pt x="2362853" y="1603132"/>
                  <a:pt x="2362853" y="1603132"/>
                </a:cubicBezTo>
                <a:cubicBezTo>
                  <a:pt x="2322213" y="1786012"/>
                  <a:pt x="2266333" y="2114942"/>
                  <a:pt x="2195213" y="2357512"/>
                </a:cubicBezTo>
                <a:cubicBezTo>
                  <a:pt x="2124093" y="2600082"/>
                  <a:pt x="2023763" y="2847732"/>
                  <a:pt x="1936133" y="3058552"/>
                </a:cubicBezTo>
                <a:cubicBezTo>
                  <a:pt x="1848503" y="3269372"/>
                  <a:pt x="1777383" y="3424312"/>
                  <a:pt x="1669433" y="3622432"/>
                </a:cubicBezTo>
                <a:cubicBezTo>
                  <a:pt x="1561483" y="3820552"/>
                  <a:pt x="1402733" y="4078362"/>
                  <a:pt x="1288433" y="4247272"/>
                </a:cubicBezTo>
                <a:cubicBezTo>
                  <a:pt x="1174133" y="4416182"/>
                  <a:pt x="1095393" y="4491112"/>
                  <a:pt x="983633" y="4635892"/>
                </a:cubicBezTo>
                <a:cubicBezTo>
                  <a:pt x="871873" y="4780672"/>
                  <a:pt x="732173" y="4972442"/>
                  <a:pt x="617873" y="5115952"/>
                </a:cubicBezTo>
                <a:cubicBezTo>
                  <a:pt x="503573" y="5259462"/>
                  <a:pt x="399433" y="5383922"/>
                  <a:pt x="297833" y="5496952"/>
                </a:cubicBezTo>
                <a:cubicBezTo>
                  <a:pt x="196233" y="5609982"/>
                  <a:pt x="12083" y="5757302"/>
                  <a:pt x="653" y="5756032"/>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1" name="Freihandform 60"/>
          <p:cNvSpPr/>
          <p:nvPr/>
        </p:nvSpPr>
        <p:spPr>
          <a:xfrm>
            <a:off x="11773577" y="-15458912"/>
            <a:ext cx="6583710" cy="16501717"/>
          </a:xfrm>
          <a:custGeom>
            <a:avLst/>
            <a:gdLst>
              <a:gd name="connsiteX0" fmla="*/ 2428498 w 2806443"/>
              <a:gd name="connsiteY0" fmla="*/ 575 h 7034198"/>
              <a:gd name="connsiteX1" fmla="*/ 2628523 w 2806443"/>
              <a:gd name="connsiteY1" fmla="*/ 734000 h 7034198"/>
              <a:gd name="connsiteX2" fmla="*/ 2790448 w 2806443"/>
              <a:gd name="connsiteY2" fmla="*/ 1524575 h 7034198"/>
              <a:gd name="connsiteX3" fmla="*/ 2771398 w 2806443"/>
              <a:gd name="connsiteY3" fmla="*/ 2258000 h 7034198"/>
              <a:gd name="connsiteX4" fmla="*/ 2533273 w 2806443"/>
              <a:gd name="connsiteY4" fmla="*/ 3448625 h 7034198"/>
              <a:gd name="connsiteX5" fmla="*/ 2104648 w 2806443"/>
              <a:gd name="connsiteY5" fmla="*/ 4458275 h 7034198"/>
              <a:gd name="connsiteX6" fmla="*/ 1485523 w 2806443"/>
              <a:gd name="connsiteY6" fmla="*/ 5544125 h 7034198"/>
              <a:gd name="connsiteX7" fmla="*/ 780673 w 2806443"/>
              <a:gd name="connsiteY7" fmla="*/ 6391850 h 7034198"/>
              <a:gd name="connsiteX8" fmla="*/ 304423 w 2806443"/>
              <a:gd name="connsiteY8" fmla="*/ 6810950 h 7034198"/>
              <a:gd name="connsiteX9" fmla="*/ 28198 w 2806443"/>
              <a:gd name="connsiteY9" fmla="*/ 7010975 h 7034198"/>
              <a:gd name="connsiteX10" fmla="*/ 9148 w 2806443"/>
              <a:gd name="connsiteY10" fmla="*/ 7030025 h 7034198"/>
              <a:gd name="connsiteX11" fmla="*/ 371098 w 2806443"/>
              <a:gd name="connsiteY11" fmla="*/ 6677600 h 7034198"/>
              <a:gd name="connsiteX12" fmla="*/ 675898 w 2806443"/>
              <a:gd name="connsiteY12" fmla="*/ 6306125 h 7034198"/>
              <a:gd name="connsiteX13" fmla="*/ 1218823 w 2806443"/>
              <a:gd name="connsiteY13" fmla="*/ 5601275 h 7034198"/>
              <a:gd name="connsiteX14" fmla="*/ 1818898 w 2806443"/>
              <a:gd name="connsiteY14" fmla="*/ 4705925 h 7034198"/>
              <a:gd name="connsiteX15" fmla="*/ 2295148 w 2806443"/>
              <a:gd name="connsiteY15" fmla="*/ 3601025 h 7034198"/>
              <a:gd name="connsiteX16" fmla="*/ 2580898 w 2806443"/>
              <a:gd name="connsiteY16" fmla="*/ 2562800 h 7034198"/>
              <a:gd name="connsiteX17" fmla="*/ 2628523 w 2806443"/>
              <a:gd name="connsiteY17" fmla="*/ 2048450 h 7034198"/>
              <a:gd name="connsiteX18" fmla="*/ 2552323 w 2806443"/>
              <a:gd name="connsiteY18" fmla="*/ 1067375 h 7034198"/>
              <a:gd name="connsiteX19" fmla="*/ 2504698 w 2806443"/>
              <a:gd name="connsiteY19" fmla="*/ 619700 h 7034198"/>
              <a:gd name="connsiteX20" fmla="*/ 2428498 w 2806443"/>
              <a:gd name="connsiteY20" fmla="*/ 575 h 703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06443" h="7034198">
                <a:moveTo>
                  <a:pt x="2428498" y="575"/>
                </a:moveTo>
                <a:cubicBezTo>
                  <a:pt x="2449135" y="19625"/>
                  <a:pt x="2568198" y="480000"/>
                  <a:pt x="2628523" y="734000"/>
                </a:cubicBezTo>
                <a:cubicBezTo>
                  <a:pt x="2688848" y="988000"/>
                  <a:pt x="2766636" y="1270575"/>
                  <a:pt x="2790448" y="1524575"/>
                </a:cubicBezTo>
                <a:cubicBezTo>
                  <a:pt x="2814260" y="1778575"/>
                  <a:pt x="2814260" y="1937325"/>
                  <a:pt x="2771398" y="2258000"/>
                </a:cubicBezTo>
                <a:cubicBezTo>
                  <a:pt x="2728536" y="2578675"/>
                  <a:pt x="2644398" y="3081913"/>
                  <a:pt x="2533273" y="3448625"/>
                </a:cubicBezTo>
                <a:cubicBezTo>
                  <a:pt x="2422148" y="3815338"/>
                  <a:pt x="2279273" y="4109025"/>
                  <a:pt x="2104648" y="4458275"/>
                </a:cubicBezTo>
                <a:cubicBezTo>
                  <a:pt x="1930023" y="4807525"/>
                  <a:pt x="1706185" y="5221863"/>
                  <a:pt x="1485523" y="5544125"/>
                </a:cubicBezTo>
                <a:cubicBezTo>
                  <a:pt x="1264861" y="5866387"/>
                  <a:pt x="977523" y="6180713"/>
                  <a:pt x="780673" y="6391850"/>
                </a:cubicBezTo>
                <a:cubicBezTo>
                  <a:pt x="583823" y="6602987"/>
                  <a:pt x="429835" y="6707763"/>
                  <a:pt x="304423" y="6810950"/>
                </a:cubicBezTo>
                <a:cubicBezTo>
                  <a:pt x="179011" y="6914137"/>
                  <a:pt x="28198" y="7010975"/>
                  <a:pt x="28198" y="7010975"/>
                </a:cubicBezTo>
                <a:cubicBezTo>
                  <a:pt x="-21015" y="7047488"/>
                  <a:pt x="9148" y="7030025"/>
                  <a:pt x="9148" y="7030025"/>
                </a:cubicBezTo>
                <a:cubicBezTo>
                  <a:pt x="66298" y="6974463"/>
                  <a:pt x="259973" y="6798250"/>
                  <a:pt x="371098" y="6677600"/>
                </a:cubicBezTo>
                <a:cubicBezTo>
                  <a:pt x="482223" y="6556950"/>
                  <a:pt x="534610" y="6485513"/>
                  <a:pt x="675898" y="6306125"/>
                </a:cubicBezTo>
                <a:cubicBezTo>
                  <a:pt x="817185" y="6126738"/>
                  <a:pt x="1028323" y="5867975"/>
                  <a:pt x="1218823" y="5601275"/>
                </a:cubicBezTo>
                <a:cubicBezTo>
                  <a:pt x="1409323" y="5334575"/>
                  <a:pt x="1639510" y="5039300"/>
                  <a:pt x="1818898" y="4705925"/>
                </a:cubicBezTo>
                <a:cubicBezTo>
                  <a:pt x="1998286" y="4372550"/>
                  <a:pt x="2168148" y="3958213"/>
                  <a:pt x="2295148" y="3601025"/>
                </a:cubicBezTo>
                <a:cubicBezTo>
                  <a:pt x="2422148" y="3243837"/>
                  <a:pt x="2525336" y="2821563"/>
                  <a:pt x="2580898" y="2562800"/>
                </a:cubicBezTo>
                <a:cubicBezTo>
                  <a:pt x="2636461" y="2304038"/>
                  <a:pt x="2633285" y="2297687"/>
                  <a:pt x="2628523" y="2048450"/>
                </a:cubicBezTo>
                <a:cubicBezTo>
                  <a:pt x="2623761" y="1799213"/>
                  <a:pt x="2572961" y="1305500"/>
                  <a:pt x="2552323" y="1067375"/>
                </a:cubicBezTo>
                <a:cubicBezTo>
                  <a:pt x="2531686" y="829250"/>
                  <a:pt x="2528511" y="799088"/>
                  <a:pt x="2504698" y="619700"/>
                </a:cubicBezTo>
                <a:cubicBezTo>
                  <a:pt x="2480886" y="440313"/>
                  <a:pt x="2407861" y="-18475"/>
                  <a:pt x="2428498" y="575"/>
                </a:cubicBezTo>
                <a:close/>
              </a:path>
            </a:pathLst>
          </a:custGeom>
          <a:pattFill prst="pct50">
            <a:fgClr>
              <a:srgbClr val="00B1EA"/>
            </a:fgClr>
            <a:bgClr>
              <a:schemeClr val="bg1"/>
            </a:bgClr>
          </a:patt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2" name="Freihandform 61"/>
          <p:cNvSpPr/>
          <p:nvPr/>
        </p:nvSpPr>
        <p:spPr>
          <a:xfrm>
            <a:off x="553321" y="-22820775"/>
            <a:ext cx="17842070" cy="27494505"/>
          </a:xfrm>
          <a:custGeom>
            <a:avLst/>
            <a:gdLst>
              <a:gd name="connsiteX0" fmla="*/ 2548526 w 3864834"/>
              <a:gd name="connsiteY0" fmla="*/ 254314 h 5955683"/>
              <a:gd name="connsiteX1" fmla="*/ 2548526 w 3864834"/>
              <a:gd name="connsiteY1" fmla="*/ 566734 h 5955683"/>
              <a:gd name="connsiteX2" fmla="*/ 2540906 w 3864834"/>
              <a:gd name="connsiteY2" fmla="*/ 848674 h 5955683"/>
              <a:gd name="connsiteX3" fmla="*/ 2396126 w 3864834"/>
              <a:gd name="connsiteY3" fmla="*/ 1763074 h 5955683"/>
              <a:gd name="connsiteX4" fmla="*/ 2015126 w 3864834"/>
              <a:gd name="connsiteY4" fmla="*/ 2578414 h 5955683"/>
              <a:gd name="connsiteX5" fmla="*/ 1496966 w 3864834"/>
              <a:gd name="connsiteY5" fmla="*/ 3203254 h 5955683"/>
              <a:gd name="connsiteX6" fmla="*/ 1093106 w 3864834"/>
              <a:gd name="connsiteY6" fmla="*/ 3584254 h 5955683"/>
              <a:gd name="connsiteX7" fmla="*/ 529226 w 3864834"/>
              <a:gd name="connsiteY7" fmla="*/ 4026214 h 5955683"/>
              <a:gd name="connsiteX8" fmla="*/ 155846 w 3864834"/>
              <a:gd name="connsiteY8" fmla="*/ 4399594 h 5955683"/>
              <a:gd name="connsiteX9" fmla="*/ 26306 w 3864834"/>
              <a:gd name="connsiteY9" fmla="*/ 4673914 h 5955683"/>
              <a:gd name="connsiteX10" fmla="*/ 33926 w 3864834"/>
              <a:gd name="connsiteY10" fmla="*/ 5016814 h 5955683"/>
              <a:gd name="connsiteX11" fmla="*/ 376826 w 3864834"/>
              <a:gd name="connsiteY11" fmla="*/ 5374954 h 5955683"/>
              <a:gd name="connsiteX12" fmla="*/ 986426 w 3864834"/>
              <a:gd name="connsiteY12" fmla="*/ 5565454 h 5955683"/>
              <a:gd name="connsiteX13" fmla="*/ 1588406 w 3864834"/>
              <a:gd name="connsiteY13" fmla="*/ 5557834 h 5955683"/>
              <a:gd name="connsiteX14" fmla="*/ 2396126 w 3864834"/>
              <a:gd name="connsiteY14" fmla="*/ 5184454 h 5955683"/>
              <a:gd name="connsiteX15" fmla="*/ 2906666 w 3864834"/>
              <a:gd name="connsiteY15" fmla="*/ 4750114 h 5955683"/>
              <a:gd name="connsiteX16" fmla="*/ 3561986 w 3864834"/>
              <a:gd name="connsiteY16" fmla="*/ 3744274 h 5955683"/>
              <a:gd name="connsiteX17" fmla="*/ 3843926 w 3864834"/>
              <a:gd name="connsiteY17" fmla="*/ 2883214 h 5955683"/>
              <a:gd name="connsiteX18" fmla="*/ 3821066 w 3864834"/>
              <a:gd name="connsiteY18" fmla="*/ 2113594 h 5955683"/>
              <a:gd name="connsiteX19" fmla="*/ 3638186 w 3864834"/>
              <a:gd name="connsiteY19" fmla="*/ 1496374 h 5955683"/>
              <a:gd name="connsiteX20" fmla="*/ 3173366 w 3864834"/>
              <a:gd name="connsiteY20" fmla="*/ 856294 h 5955683"/>
              <a:gd name="connsiteX21" fmla="*/ 2784746 w 3864834"/>
              <a:gd name="connsiteY21" fmla="*/ 612454 h 5955683"/>
              <a:gd name="connsiteX22" fmla="*/ 2518046 w 3864834"/>
              <a:gd name="connsiteY22" fmla="*/ 574354 h 5955683"/>
              <a:gd name="connsiteX23" fmla="*/ 2457086 w 3864834"/>
              <a:gd name="connsiteY23" fmla="*/ 627694 h 5955683"/>
              <a:gd name="connsiteX24" fmla="*/ 2426606 w 3864834"/>
              <a:gd name="connsiteY24" fmla="*/ 749614 h 5955683"/>
              <a:gd name="connsiteX25" fmla="*/ 2335166 w 3864834"/>
              <a:gd name="connsiteY25" fmla="*/ 1161094 h 5955683"/>
              <a:gd name="connsiteX26" fmla="*/ 2152286 w 3864834"/>
              <a:gd name="connsiteY26" fmla="*/ 1923094 h 5955683"/>
              <a:gd name="connsiteX27" fmla="*/ 1824626 w 3864834"/>
              <a:gd name="connsiteY27" fmla="*/ 2616514 h 5955683"/>
              <a:gd name="connsiteX28" fmla="*/ 1138826 w 3864834"/>
              <a:gd name="connsiteY28" fmla="*/ 3546154 h 5955683"/>
              <a:gd name="connsiteX29" fmla="*/ 757826 w 3864834"/>
              <a:gd name="connsiteY29" fmla="*/ 4033834 h 5955683"/>
              <a:gd name="connsiteX30" fmla="*/ 498746 w 3864834"/>
              <a:gd name="connsiteY30" fmla="*/ 4506274 h 5955683"/>
              <a:gd name="connsiteX31" fmla="*/ 361586 w 3864834"/>
              <a:gd name="connsiteY31" fmla="*/ 5032054 h 5955683"/>
              <a:gd name="connsiteX32" fmla="*/ 376826 w 3864834"/>
              <a:gd name="connsiteY32" fmla="*/ 5390194 h 5955683"/>
              <a:gd name="connsiteX33" fmla="*/ 475886 w 3864834"/>
              <a:gd name="connsiteY33" fmla="*/ 5702614 h 5955683"/>
              <a:gd name="connsiteX34" fmla="*/ 719726 w 3864834"/>
              <a:gd name="connsiteY34" fmla="*/ 5893114 h 5955683"/>
              <a:gd name="connsiteX35" fmla="*/ 1184546 w 3864834"/>
              <a:gd name="connsiteY35" fmla="*/ 5946454 h 5955683"/>
              <a:gd name="connsiteX36" fmla="*/ 1778906 w 3864834"/>
              <a:gd name="connsiteY36" fmla="*/ 5725474 h 5955683"/>
              <a:gd name="connsiteX37" fmla="*/ 2335166 w 3864834"/>
              <a:gd name="connsiteY37" fmla="*/ 5253034 h 5955683"/>
              <a:gd name="connsiteX38" fmla="*/ 2678066 w 3864834"/>
              <a:gd name="connsiteY38" fmla="*/ 4872034 h 5955683"/>
              <a:gd name="connsiteX39" fmla="*/ 3158126 w 3864834"/>
              <a:gd name="connsiteY39" fmla="*/ 4148134 h 5955683"/>
              <a:gd name="connsiteX40" fmla="*/ 3424826 w 3864834"/>
              <a:gd name="connsiteY40" fmla="*/ 3614734 h 5955683"/>
              <a:gd name="connsiteX41" fmla="*/ 3569606 w 3864834"/>
              <a:gd name="connsiteY41" fmla="*/ 3180394 h 5955683"/>
              <a:gd name="connsiteX42" fmla="*/ 3676286 w 3864834"/>
              <a:gd name="connsiteY42" fmla="*/ 2479354 h 5955683"/>
              <a:gd name="connsiteX43" fmla="*/ 3683906 w 3864834"/>
              <a:gd name="connsiteY43" fmla="*/ 1679254 h 5955683"/>
              <a:gd name="connsiteX44" fmla="*/ 3531506 w 3864834"/>
              <a:gd name="connsiteY44" fmla="*/ 1206814 h 5955683"/>
              <a:gd name="connsiteX45" fmla="*/ 3287666 w 3864834"/>
              <a:gd name="connsiteY45" fmla="*/ 574354 h 5955683"/>
              <a:gd name="connsiteX46" fmla="*/ 2769506 w 3864834"/>
              <a:gd name="connsiteY46" fmla="*/ 10474 h 5955683"/>
              <a:gd name="connsiteX47" fmla="*/ 2548526 w 3864834"/>
              <a:gd name="connsiteY47" fmla="*/ 254314 h 5955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864834" h="5955683">
                <a:moveTo>
                  <a:pt x="2548526" y="254314"/>
                </a:moveTo>
                <a:cubicBezTo>
                  <a:pt x="2511696" y="347024"/>
                  <a:pt x="2549796" y="467674"/>
                  <a:pt x="2548526" y="566734"/>
                </a:cubicBezTo>
                <a:cubicBezTo>
                  <a:pt x="2547256" y="665794"/>
                  <a:pt x="2566306" y="649284"/>
                  <a:pt x="2540906" y="848674"/>
                </a:cubicBezTo>
                <a:cubicBezTo>
                  <a:pt x="2515506" y="1048064"/>
                  <a:pt x="2483756" y="1474784"/>
                  <a:pt x="2396126" y="1763074"/>
                </a:cubicBezTo>
                <a:cubicBezTo>
                  <a:pt x="2308496" y="2051364"/>
                  <a:pt x="2164986" y="2338384"/>
                  <a:pt x="2015126" y="2578414"/>
                </a:cubicBezTo>
                <a:cubicBezTo>
                  <a:pt x="1865266" y="2818444"/>
                  <a:pt x="1650636" y="3035614"/>
                  <a:pt x="1496966" y="3203254"/>
                </a:cubicBezTo>
                <a:cubicBezTo>
                  <a:pt x="1343296" y="3370894"/>
                  <a:pt x="1254396" y="3447094"/>
                  <a:pt x="1093106" y="3584254"/>
                </a:cubicBezTo>
                <a:cubicBezTo>
                  <a:pt x="931816" y="3721414"/>
                  <a:pt x="685436" y="3890324"/>
                  <a:pt x="529226" y="4026214"/>
                </a:cubicBezTo>
                <a:cubicBezTo>
                  <a:pt x="373016" y="4162104"/>
                  <a:pt x="239666" y="4291644"/>
                  <a:pt x="155846" y="4399594"/>
                </a:cubicBezTo>
                <a:cubicBezTo>
                  <a:pt x="72026" y="4507544"/>
                  <a:pt x="46626" y="4571044"/>
                  <a:pt x="26306" y="4673914"/>
                </a:cubicBezTo>
                <a:cubicBezTo>
                  <a:pt x="5986" y="4776784"/>
                  <a:pt x="-24494" y="4899974"/>
                  <a:pt x="33926" y="5016814"/>
                </a:cubicBezTo>
                <a:cubicBezTo>
                  <a:pt x="92346" y="5133654"/>
                  <a:pt x="218076" y="5283514"/>
                  <a:pt x="376826" y="5374954"/>
                </a:cubicBezTo>
                <a:cubicBezTo>
                  <a:pt x="535576" y="5466394"/>
                  <a:pt x="784496" y="5534974"/>
                  <a:pt x="986426" y="5565454"/>
                </a:cubicBezTo>
                <a:cubicBezTo>
                  <a:pt x="1188356" y="5595934"/>
                  <a:pt x="1353456" y="5621334"/>
                  <a:pt x="1588406" y="5557834"/>
                </a:cubicBezTo>
                <a:cubicBezTo>
                  <a:pt x="1823356" y="5494334"/>
                  <a:pt x="2176416" y="5319074"/>
                  <a:pt x="2396126" y="5184454"/>
                </a:cubicBezTo>
                <a:cubicBezTo>
                  <a:pt x="2615836" y="5049834"/>
                  <a:pt x="2712356" y="4990144"/>
                  <a:pt x="2906666" y="4750114"/>
                </a:cubicBezTo>
                <a:cubicBezTo>
                  <a:pt x="3100976" y="4510084"/>
                  <a:pt x="3405776" y="4055424"/>
                  <a:pt x="3561986" y="3744274"/>
                </a:cubicBezTo>
                <a:cubicBezTo>
                  <a:pt x="3718196" y="3433124"/>
                  <a:pt x="3800746" y="3154994"/>
                  <a:pt x="3843926" y="2883214"/>
                </a:cubicBezTo>
                <a:cubicBezTo>
                  <a:pt x="3887106" y="2611434"/>
                  <a:pt x="3855356" y="2344734"/>
                  <a:pt x="3821066" y="2113594"/>
                </a:cubicBezTo>
                <a:cubicBezTo>
                  <a:pt x="3786776" y="1882454"/>
                  <a:pt x="3746136" y="1705924"/>
                  <a:pt x="3638186" y="1496374"/>
                </a:cubicBezTo>
                <a:cubicBezTo>
                  <a:pt x="3530236" y="1286824"/>
                  <a:pt x="3315606" y="1003614"/>
                  <a:pt x="3173366" y="856294"/>
                </a:cubicBezTo>
                <a:cubicBezTo>
                  <a:pt x="3031126" y="708974"/>
                  <a:pt x="2893966" y="659444"/>
                  <a:pt x="2784746" y="612454"/>
                </a:cubicBezTo>
                <a:cubicBezTo>
                  <a:pt x="2675526" y="565464"/>
                  <a:pt x="2572656" y="571814"/>
                  <a:pt x="2518046" y="574354"/>
                </a:cubicBezTo>
                <a:cubicBezTo>
                  <a:pt x="2463436" y="576894"/>
                  <a:pt x="2472326" y="598484"/>
                  <a:pt x="2457086" y="627694"/>
                </a:cubicBezTo>
                <a:cubicBezTo>
                  <a:pt x="2441846" y="656904"/>
                  <a:pt x="2446926" y="660714"/>
                  <a:pt x="2426606" y="749614"/>
                </a:cubicBezTo>
                <a:cubicBezTo>
                  <a:pt x="2406286" y="838514"/>
                  <a:pt x="2380886" y="965514"/>
                  <a:pt x="2335166" y="1161094"/>
                </a:cubicBezTo>
                <a:cubicBezTo>
                  <a:pt x="2289446" y="1356674"/>
                  <a:pt x="2237376" y="1680524"/>
                  <a:pt x="2152286" y="1923094"/>
                </a:cubicBezTo>
                <a:cubicBezTo>
                  <a:pt x="2067196" y="2165664"/>
                  <a:pt x="1993536" y="2346004"/>
                  <a:pt x="1824626" y="2616514"/>
                </a:cubicBezTo>
                <a:cubicBezTo>
                  <a:pt x="1655716" y="2887024"/>
                  <a:pt x="1316626" y="3309934"/>
                  <a:pt x="1138826" y="3546154"/>
                </a:cubicBezTo>
                <a:cubicBezTo>
                  <a:pt x="961026" y="3782374"/>
                  <a:pt x="864506" y="3873814"/>
                  <a:pt x="757826" y="4033834"/>
                </a:cubicBezTo>
                <a:cubicBezTo>
                  <a:pt x="651146" y="4193854"/>
                  <a:pt x="564786" y="4339904"/>
                  <a:pt x="498746" y="4506274"/>
                </a:cubicBezTo>
                <a:cubicBezTo>
                  <a:pt x="432706" y="4672644"/>
                  <a:pt x="381906" y="4884734"/>
                  <a:pt x="361586" y="5032054"/>
                </a:cubicBezTo>
                <a:cubicBezTo>
                  <a:pt x="341266" y="5179374"/>
                  <a:pt x="357776" y="5278434"/>
                  <a:pt x="376826" y="5390194"/>
                </a:cubicBezTo>
                <a:cubicBezTo>
                  <a:pt x="395876" y="5501954"/>
                  <a:pt x="418736" y="5618794"/>
                  <a:pt x="475886" y="5702614"/>
                </a:cubicBezTo>
                <a:cubicBezTo>
                  <a:pt x="533036" y="5786434"/>
                  <a:pt x="601616" y="5852474"/>
                  <a:pt x="719726" y="5893114"/>
                </a:cubicBezTo>
                <a:cubicBezTo>
                  <a:pt x="837836" y="5933754"/>
                  <a:pt x="1008016" y="5974394"/>
                  <a:pt x="1184546" y="5946454"/>
                </a:cubicBezTo>
                <a:cubicBezTo>
                  <a:pt x="1361076" y="5918514"/>
                  <a:pt x="1587136" y="5841044"/>
                  <a:pt x="1778906" y="5725474"/>
                </a:cubicBezTo>
                <a:cubicBezTo>
                  <a:pt x="1970676" y="5609904"/>
                  <a:pt x="2185306" y="5395274"/>
                  <a:pt x="2335166" y="5253034"/>
                </a:cubicBezTo>
                <a:cubicBezTo>
                  <a:pt x="2485026" y="5110794"/>
                  <a:pt x="2540906" y="5056184"/>
                  <a:pt x="2678066" y="4872034"/>
                </a:cubicBezTo>
                <a:cubicBezTo>
                  <a:pt x="2815226" y="4687884"/>
                  <a:pt x="3033666" y="4357684"/>
                  <a:pt x="3158126" y="4148134"/>
                </a:cubicBezTo>
                <a:cubicBezTo>
                  <a:pt x="3282586" y="3938584"/>
                  <a:pt x="3356246" y="3776024"/>
                  <a:pt x="3424826" y="3614734"/>
                </a:cubicBezTo>
                <a:cubicBezTo>
                  <a:pt x="3493406" y="3453444"/>
                  <a:pt x="3527696" y="3369624"/>
                  <a:pt x="3569606" y="3180394"/>
                </a:cubicBezTo>
                <a:cubicBezTo>
                  <a:pt x="3611516" y="2991164"/>
                  <a:pt x="3657236" y="2729544"/>
                  <a:pt x="3676286" y="2479354"/>
                </a:cubicBezTo>
                <a:cubicBezTo>
                  <a:pt x="3695336" y="2229164"/>
                  <a:pt x="3708036" y="1891344"/>
                  <a:pt x="3683906" y="1679254"/>
                </a:cubicBezTo>
                <a:cubicBezTo>
                  <a:pt x="3659776" y="1467164"/>
                  <a:pt x="3597546" y="1390964"/>
                  <a:pt x="3531506" y="1206814"/>
                </a:cubicBezTo>
                <a:cubicBezTo>
                  <a:pt x="3465466" y="1022664"/>
                  <a:pt x="3414666" y="773744"/>
                  <a:pt x="3287666" y="574354"/>
                </a:cubicBezTo>
                <a:cubicBezTo>
                  <a:pt x="3160666" y="374964"/>
                  <a:pt x="2890156" y="70164"/>
                  <a:pt x="2769506" y="10474"/>
                </a:cubicBezTo>
                <a:cubicBezTo>
                  <a:pt x="2648856" y="-49216"/>
                  <a:pt x="2585356" y="161604"/>
                  <a:pt x="2548526" y="254314"/>
                </a:cubicBezTo>
                <a:close/>
              </a:path>
            </a:pathLst>
          </a:custGeom>
          <a:noFill/>
          <a:ln w="254000" cmpd="tri">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8" name="Gerade Verbindung mit Pfeil 37"/>
          <p:cNvCxnSpPr/>
          <p:nvPr/>
        </p:nvCxnSpPr>
        <p:spPr>
          <a:xfrm flipH="1">
            <a:off x="2247901" y="2627141"/>
            <a:ext cx="167867" cy="5418"/>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flipH="1" flipV="1">
            <a:off x="2415769" y="2626209"/>
            <a:ext cx="166638" cy="932"/>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Rechteck 4"/>
          <p:cNvSpPr/>
          <p:nvPr/>
        </p:nvSpPr>
        <p:spPr>
          <a:xfrm>
            <a:off x="-2206171" y="-631371"/>
            <a:ext cx="19899085" cy="204234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Inhaltsplatzhalter 16"/>
          <p:cNvSpPr>
            <a:spLocks noGrp="1"/>
          </p:cNvSpPr>
          <p:nvPr>
            <p:ph sz="quarter" idx="13"/>
          </p:nvPr>
        </p:nvSpPr>
        <p:spPr/>
        <p:txBody>
          <a:bodyPr/>
          <a:lstStyle/>
          <a:p>
            <a:endParaRPr lang="de-DE" sz="1600" dirty="0">
              <a:latin typeface="Arial" panose="020B0604020202020204" pitchFamily="34" charset="0"/>
              <a:cs typeface="Arial" panose="020B0604020202020204" pitchFamily="34" charset="0"/>
            </a:endParaRPr>
          </a:p>
          <a:p>
            <a:endParaRPr lang="de-DE" sz="1600" dirty="0"/>
          </a:p>
        </p:txBody>
      </p:sp>
      <p:sp>
        <p:nvSpPr>
          <p:cNvPr id="2" name="Titel 1"/>
          <p:cNvSpPr>
            <a:spLocks noGrp="1"/>
          </p:cNvSpPr>
          <p:nvPr>
            <p:ph type="title"/>
          </p:nvPr>
        </p:nvSpPr>
        <p:spPr>
          <a:xfrm>
            <a:off x="695328" y="441325"/>
            <a:ext cx="10801347" cy="894416"/>
          </a:xfrm>
        </p:spPr>
        <p:txBody>
          <a:bodyPr/>
          <a:lstStyle/>
          <a:p>
            <a:r>
              <a:rPr lang="de-DE" dirty="0" smtClean="0"/>
              <a:t>1. </a:t>
            </a:r>
            <a:r>
              <a:rPr lang="de-DE" dirty="0" err="1" smtClean="0"/>
              <a:t>Divert</a:t>
            </a:r>
            <a:r>
              <a:rPr lang="de-DE" dirty="0" smtClean="0"/>
              <a:t> Plasma </a:t>
            </a:r>
            <a:r>
              <a:rPr lang="de-DE" dirty="0" err="1" smtClean="0"/>
              <a:t>Particles</a:t>
            </a:r>
            <a:r>
              <a:rPr lang="de-DE" dirty="0" smtClean="0"/>
              <a:t> – </a:t>
            </a:r>
            <a:r>
              <a:rPr lang="de-DE" dirty="0" smtClean="0"/>
              <a:t>High </a:t>
            </a:r>
            <a:r>
              <a:rPr lang="de-DE" dirty="0" err="1" smtClean="0"/>
              <a:t>iota</a:t>
            </a:r>
            <a:r>
              <a:rPr lang="de-DE" dirty="0" smtClean="0"/>
              <a:t> / Standard / Low </a:t>
            </a:r>
            <a:r>
              <a:rPr lang="de-DE" dirty="0" err="1" smtClean="0"/>
              <a:t>iota</a:t>
            </a:r>
            <a:r>
              <a:rPr lang="de-DE" dirty="0" smtClean="0"/>
              <a:t> / High </a:t>
            </a:r>
            <a:r>
              <a:rPr lang="de-DE" dirty="0" err="1" smtClean="0"/>
              <a:t>mirror</a:t>
            </a:r>
            <a:endParaRPr lang="de-DE" dirty="0"/>
          </a:p>
        </p:txBody>
      </p:sp>
      <p:sp>
        <p:nvSpPr>
          <p:cNvPr id="3" name="Fußzeilenplatzhalter 2"/>
          <p:cNvSpPr>
            <a:spLocks noGrp="1"/>
          </p:cNvSpPr>
          <p:nvPr>
            <p:ph type="ftr" sz="quarter" idx="4294967295"/>
          </p:nvPr>
        </p:nvSpPr>
        <p:spPr>
          <a:xfrm>
            <a:off x="0" y="6489700"/>
            <a:ext cx="10477500" cy="142875"/>
          </a:xfrm>
        </p:spPr>
        <p:txBody>
          <a:bodyPr/>
          <a:lstStyle/>
          <a:p>
            <a:pPr algn="l">
              <a:tabLst>
                <a:tab pos="9775321" algn="r"/>
                <a:tab pos="10226148" algn="r"/>
              </a:tabLst>
            </a:pPr>
            <a:r>
              <a:rPr lang="de-DE" smtClean="0"/>
              <a:t>Max-Planck-Institut für Plasmaphysik | Thierry Kremeyer | 22.01.24</a:t>
            </a:r>
            <a:endParaRPr lang="de-DE" dirty="0"/>
          </a:p>
        </p:txBody>
      </p:sp>
      <p:sp>
        <p:nvSpPr>
          <p:cNvPr id="4" name="Foliennummernplatzhalter 3"/>
          <p:cNvSpPr>
            <a:spLocks noGrp="1"/>
          </p:cNvSpPr>
          <p:nvPr>
            <p:ph type="sldNum" sz="quarter" idx="4294967295"/>
          </p:nvPr>
        </p:nvSpPr>
        <p:spPr>
          <a:xfrm>
            <a:off x="11863388" y="6489700"/>
            <a:ext cx="328612" cy="142875"/>
          </a:xfrm>
        </p:spPr>
        <p:txBody>
          <a:bodyPr/>
          <a:lstStyle/>
          <a:p>
            <a:fld id="{3B1A4699-952B-42DA-8DC4-38A59B49610C}" type="slidenum">
              <a:rPr lang="de-DE" smtClean="0"/>
              <a:pPr/>
              <a:t>4</a:t>
            </a:fld>
            <a:endParaRPr lang="de-DE" dirty="0"/>
          </a:p>
        </p:txBody>
      </p:sp>
      <mc:AlternateContent xmlns:mc="http://schemas.openxmlformats.org/markup-compatibility/2006">
        <mc:Choice xmlns:a14="http://schemas.microsoft.com/office/drawing/2010/main" Requires="a14">
          <p:sp>
            <p:nvSpPr>
              <p:cNvPr id="34" name="Rechteck 33"/>
              <p:cNvSpPr/>
              <p:nvPr/>
            </p:nvSpPr>
            <p:spPr>
              <a:xfrm>
                <a:off x="2428486" y="2426114"/>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𝑫</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34" name="Rechteck 33"/>
              <p:cNvSpPr>
                <a:spLocks noRot="1" noChangeAspect="1" noMove="1" noResize="1" noEditPoints="1" noAdjustHandles="1" noChangeArrowheads="1" noChangeShapeType="1" noTextEdit="1"/>
              </p:cNvSpPr>
              <p:nvPr/>
            </p:nvSpPr>
            <p:spPr>
              <a:xfrm>
                <a:off x="2428486" y="2426114"/>
                <a:ext cx="1371914" cy="349391"/>
              </a:xfrm>
              <a:prstGeom prst="rect">
                <a:avLst/>
              </a:prstGeom>
              <a:blipFill>
                <a:blip r:embed="rId2"/>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36" name="Rechteck 35"/>
              <p:cNvSpPr/>
              <p:nvPr/>
            </p:nvSpPr>
            <p:spPr>
              <a:xfrm>
                <a:off x="1297812" y="2441354"/>
                <a:ext cx="1020343" cy="34932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a:latin typeface="Cambria Math" panose="02040503050406030204" pitchFamily="18" charset="0"/>
                            </a:rPr>
                            <m:t>𝑷𝑭𝑹</m:t>
                          </m:r>
                        </m:sub>
                      </m:sSub>
                    </m:oMath>
                  </m:oMathPara>
                </a14:m>
                <a:endParaRPr lang="de-DE" dirty="0"/>
              </a:p>
            </p:txBody>
          </p:sp>
        </mc:Choice>
        <mc:Fallback>
          <p:sp>
            <p:nvSpPr>
              <p:cNvPr id="36" name="Rechteck 35"/>
              <p:cNvSpPr>
                <a:spLocks noRot="1" noChangeAspect="1" noMove="1" noResize="1" noEditPoints="1" noAdjustHandles="1" noChangeArrowheads="1" noChangeShapeType="1" noTextEdit="1"/>
              </p:cNvSpPr>
              <p:nvPr/>
            </p:nvSpPr>
            <p:spPr>
              <a:xfrm>
                <a:off x="1297812" y="2441354"/>
                <a:ext cx="1020343" cy="349326"/>
              </a:xfrm>
              <a:prstGeom prst="rect">
                <a:avLst/>
              </a:prstGeom>
              <a:blipFill>
                <a:blip r:embed="rId3"/>
                <a:stretch>
                  <a:fillRect/>
                </a:stretch>
              </a:blipFill>
            </p:spPr>
            <p:txBody>
              <a:bodyPr/>
              <a:lstStyle/>
              <a:p>
                <a:r>
                  <a:rPr lang="de-DE">
                    <a:noFill/>
                  </a:rPr>
                  <a:t> </a:t>
                </a:r>
              </a:p>
            </p:txBody>
          </p:sp>
        </mc:Fallback>
      </mc:AlternateContent>
      <p:sp>
        <p:nvSpPr>
          <p:cNvPr id="6" name="Rechteck 5"/>
          <p:cNvSpPr/>
          <p:nvPr/>
        </p:nvSpPr>
        <p:spPr>
          <a:xfrm>
            <a:off x="0" y="4826130"/>
            <a:ext cx="12192000" cy="170802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2400" b="1" dirty="0" smtClean="0">
                <a:solidFill>
                  <a:srgbClr val="005555"/>
                </a:solidFill>
              </a:rPr>
              <a:t>		</a:t>
            </a:r>
            <a:r>
              <a:rPr lang="de-DE" sz="2400" b="1" dirty="0" smtClean="0">
                <a:solidFill>
                  <a:srgbClr val="005555"/>
                </a:solidFill>
              </a:rPr>
              <a:t>Target </a:t>
            </a:r>
            <a:r>
              <a:rPr lang="de-DE" sz="2400" b="1" dirty="0" err="1" smtClean="0">
                <a:solidFill>
                  <a:srgbClr val="005555"/>
                </a:solidFill>
              </a:rPr>
              <a:t>geometry</a:t>
            </a:r>
            <a:r>
              <a:rPr lang="de-DE" sz="2400" b="1" dirty="0" smtClean="0">
                <a:solidFill>
                  <a:srgbClr val="005555"/>
                </a:solidFill>
              </a:rPr>
              <a:t> </a:t>
            </a:r>
            <a:r>
              <a:rPr lang="de-DE" sz="2400" b="1" dirty="0" err="1" smtClean="0">
                <a:solidFill>
                  <a:srgbClr val="005555"/>
                </a:solidFill>
              </a:rPr>
              <a:t>for</a:t>
            </a:r>
            <a:r>
              <a:rPr lang="de-DE" sz="2400" b="1" dirty="0" smtClean="0">
                <a:solidFill>
                  <a:srgbClr val="005555"/>
                </a:solidFill>
              </a:rPr>
              <a:t> an </a:t>
            </a:r>
            <a:r>
              <a:rPr lang="de-DE" sz="2400" b="1" dirty="0" err="1" smtClean="0">
                <a:solidFill>
                  <a:srgbClr val="005555"/>
                </a:solidFill>
              </a:rPr>
              <a:t>arbitrary</a:t>
            </a:r>
            <a:r>
              <a:rPr lang="de-DE" sz="2400" b="1" dirty="0" smtClean="0">
                <a:solidFill>
                  <a:srgbClr val="005555"/>
                </a:solidFill>
              </a:rPr>
              <a:t> </a:t>
            </a:r>
            <a:r>
              <a:rPr lang="de-DE" sz="2400" b="1" dirty="0" err="1" smtClean="0">
                <a:solidFill>
                  <a:srgbClr val="005555"/>
                </a:solidFill>
              </a:rPr>
              <a:t>island</a:t>
            </a:r>
            <a:endParaRPr lang="de-DE" sz="2400" b="1" dirty="0" smtClean="0">
              <a:solidFill>
                <a:srgbClr val="005555"/>
              </a:solidFill>
            </a:endParaRPr>
          </a:p>
          <a:p>
            <a:pPr algn="l">
              <a:spcBef>
                <a:spcPts val="1150"/>
              </a:spcBef>
              <a:buClr>
                <a:srgbClr val="116656"/>
              </a:buClr>
              <a:buSzPct val="120000"/>
            </a:pPr>
            <a:r>
              <a:rPr lang="de-DE" sz="2400" b="1" dirty="0">
                <a:solidFill>
                  <a:srgbClr val="005555"/>
                </a:solidFill>
              </a:rPr>
              <a:t>	</a:t>
            </a:r>
            <a:r>
              <a:rPr lang="de-DE" sz="2400" b="1" dirty="0" smtClean="0">
                <a:solidFill>
                  <a:srgbClr val="005555"/>
                </a:solidFill>
              </a:rPr>
              <a:t>	</a:t>
            </a:r>
            <a:r>
              <a:rPr lang="de-DE" sz="2400" b="1" dirty="0" err="1" smtClean="0">
                <a:solidFill>
                  <a:srgbClr val="005555"/>
                </a:solidFill>
              </a:rPr>
              <a:t>Only</a:t>
            </a:r>
            <a:r>
              <a:rPr lang="de-DE" sz="2400" b="1" dirty="0" smtClean="0">
                <a:solidFill>
                  <a:srgbClr val="005555"/>
                </a:solidFill>
              </a:rPr>
              <a:t> </a:t>
            </a:r>
            <a:r>
              <a:rPr lang="de-DE" sz="2400" b="1" dirty="0" err="1" smtClean="0">
                <a:solidFill>
                  <a:srgbClr val="005555"/>
                </a:solidFill>
              </a:rPr>
              <a:t>intersect</a:t>
            </a:r>
            <a:r>
              <a:rPr lang="de-DE" sz="2400" b="1" dirty="0" smtClean="0">
                <a:solidFill>
                  <a:srgbClr val="005555"/>
                </a:solidFill>
              </a:rPr>
              <a:t> </a:t>
            </a:r>
            <a:r>
              <a:rPr lang="de-DE" sz="2400" b="1" dirty="0" err="1" smtClean="0">
                <a:solidFill>
                  <a:srgbClr val="005555"/>
                </a:solidFill>
              </a:rPr>
              <a:t>each</a:t>
            </a:r>
            <a:r>
              <a:rPr lang="de-DE" sz="2400" b="1" dirty="0" smtClean="0">
                <a:solidFill>
                  <a:srgbClr val="005555"/>
                </a:solidFill>
              </a:rPr>
              <a:t> </a:t>
            </a:r>
            <a:r>
              <a:rPr lang="de-DE" sz="2400" b="1" dirty="0" err="1" smtClean="0">
                <a:solidFill>
                  <a:srgbClr val="005555"/>
                </a:solidFill>
              </a:rPr>
              <a:t>island</a:t>
            </a:r>
            <a:r>
              <a:rPr lang="de-DE" sz="2400" b="1" dirty="0" smtClean="0">
                <a:solidFill>
                  <a:srgbClr val="005555"/>
                </a:solidFill>
              </a:rPr>
              <a:t> </a:t>
            </a:r>
            <a:r>
              <a:rPr lang="de-DE" sz="2400" b="1" dirty="0" err="1" smtClean="0">
                <a:solidFill>
                  <a:srgbClr val="005555"/>
                </a:solidFill>
              </a:rPr>
              <a:t>toroid</a:t>
            </a:r>
            <a:r>
              <a:rPr lang="de-DE" sz="2400" b="1" dirty="0" smtClean="0">
                <a:solidFill>
                  <a:srgbClr val="005555"/>
                </a:solidFill>
              </a:rPr>
              <a:t> </a:t>
            </a:r>
            <a:r>
              <a:rPr lang="de-DE" sz="2400" b="1" dirty="0" err="1" smtClean="0">
                <a:solidFill>
                  <a:srgbClr val="005555"/>
                </a:solidFill>
              </a:rPr>
              <a:t>once</a:t>
            </a:r>
            <a:r>
              <a:rPr lang="de-DE" sz="2400" b="1" dirty="0" smtClean="0">
                <a:solidFill>
                  <a:srgbClr val="005555"/>
                </a:solidFill>
              </a:rPr>
              <a:t> (</a:t>
            </a:r>
            <a:r>
              <a:rPr lang="de-DE" sz="2400" b="1" dirty="0" err="1" smtClean="0">
                <a:solidFill>
                  <a:srgbClr val="005555"/>
                </a:solidFill>
              </a:rPr>
              <a:t>no</a:t>
            </a:r>
            <a:r>
              <a:rPr lang="de-DE" sz="2400" b="1" dirty="0" smtClean="0">
                <a:solidFill>
                  <a:srgbClr val="005555"/>
                </a:solidFill>
              </a:rPr>
              <a:t> </a:t>
            </a:r>
            <a:r>
              <a:rPr lang="de-DE" sz="2400" b="1" dirty="0" err="1" smtClean="0">
                <a:solidFill>
                  <a:srgbClr val="005555"/>
                </a:solidFill>
              </a:rPr>
              <a:t>shadowing</a:t>
            </a:r>
            <a:r>
              <a:rPr lang="de-DE" sz="2400" b="1" dirty="0" smtClean="0">
                <a:solidFill>
                  <a:srgbClr val="005555"/>
                </a:solidFill>
              </a:rPr>
              <a:t>)</a:t>
            </a:r>
            <a:endParaRPr lang="de-DE" sz="2400" b="1" dirty="0" smtClean="0">
              <a:solidFill>
                <a:srgbClr val="005555"/>
              </a:solidFill>
            </a:endParaRPr>
          </a:p>
        </p:txBody>
      </p:sp>
    </p:spTree>
    <p:extLst>
      <p:ext uri="{BB962C8B-B14F-4D97-AF65-F5344CB8AC3E}">
        <p14:creationId xmlns:p14="http://schemas.microsoft.com/office/powerpoint/2010/main" val="2007187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endParaRPr lang="de-DE"/>
          </a:p>
        </p:txBody>
      </p:sp>
      <p:sp>
        <p:nvSpPr>
          <p:cNvPr id="3" name="Titel 2"/>
          <p:cNvSpPr>
            <a:spLocks noGrp="1"/>
          </p:cNvSpPr>
          <p:nvPr>
            <p:ph type="title"/>
          </p:nvPr>
        </p:nvSpPr>
        <p:spPr/>
        <p:txBody>
          <a:bodyPr/>
          <a:lstStyle/>
          <a:p>
            <a:r>
              <a:rPr lang="de-DE" dirty="0"/>
              <a:t>2. </a:t>
            </a:r>
            <a:r>
              <a:rPr lang="de-DE" dirty="0" err="1"/>
              <a:t>Neutralize</a:t>
            </a:r>
            <a:r>
              <a:rPr lang="de-DE" dirty="0"/>
              <a:t> Plasma </a:t>
            </a:r>
            <a:r>
              <a:rPr lang="de-DE" dirty="0" err="1"/>
              <a:t>Particles</a:t>
            </a:r>
            <a:endParaRPr lang="de-DE"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5</a:t>
            </a:fld>
            <a:endParaRPr lang="de-DE" dirty="0"/>
          </a:p>
        </p:txBody>
      </p:sp>
      <p:pic>
        <p:nvPicPr>
          <p:cNvPr id="6" name="Grafik 5"/>
          <p:cNvPicPr>
            <a:picLocks noChangeAspect="1"/>
          </p:cNvPicPr>
          <p:nvPr/>
        </p:nvPicPr>
        <p:blipFill rotWithShape="1">
          <a:blip r:embed="rId2">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4" name="Gerade Verbindung mit Pfeil 13"/>
          <p:cNvCxnSpPr/>
          <p:nvPr/>
        </p:nvCxnSpPr>
        <p:spPr>
          <a:xfrm flipH="1">
            <a:off x="2247901" y="2627141"/>
            <a:ext cx="167867" cy="5418"/>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flipH="1" flipV="1">
            <a:off x="2415769" y="2626209"/>
            <a:ext cx="166638" cy="932"/>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6" name="Rechteck 15"/>
              <p:cNvSpPr/>
              <p:nvPr/>
            </p:nvSpPr>
            <p:spPr>
              <a:xfrm>
                <a:off x="2428486" y="2426114"/>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𝑫</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16" name="Rechteck 15"/>
              <p:cNvSpPr>
                <a:spLocks noRot="1" noChangeAspect="1" noMove="1" noResize="1" noEditPoints="1" noAdjustHandles="1" noChangeArrowheads="1" noChangeShapeType="1" noTextEdit="1"/>
              </p:cNvSpPr>
              <p:nvPr/>
            </p:nvSpPr>
            <p:spPr>
              <a:xfrm>
                <a:off x="2428486" y="2426114"/>
                <a:ext cx="1371914" cy="349391"/>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7" name="Rechteck 16"/>
              <p:cNvSpPr/>
              <p:nvPr/>
            </p:nvSpPr>
            <p:spPr>
              <a:xfrm>
                <a:off x="1297812" y="2441354"/>
                <a:ext cx="1020343" cy="34932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a:latin typeface="Cambria Math" panose="02040503050406030204" pitchFamily="18" charset="0"/>
                            </a:rPr>
                            <m:t>𝑷𝑭𝑹</m:t>
                          </m:r>
                        </m:sub>
                      </m:sSub>
                    </m:oMath>
                  </m:oMathPara>
                </a14:m>
                <a:endParaRPr lang="de-DE" dirty="0"/>
              </a:p>
            </p:txBody>
          </p:sp>
        </mc:Choice>
        <mc:Fallback>
          <p:sp>
            <p:nvSpPr>
              <p:cNvPr id="17" name="Rechteck 16"/>
              <p:cNvSpPr>
                <a:spLocks noRot="1" noChangeAspect="1" noMove="1" noResize="1" noEditPoints="1" noAdjustHandles="1" noChangeArrowheads="1" noChangeShapeType="1" noTextEdit="1"/>
              </p:cNvSpPr>
              <p:nvPr/>
            </p:nvSpPr>
            <p:spPr>
              <a:xfrm>
                <a:off x="1297812" y="2441354"/>
                <a:ext cx="1020343" cy="349326"/>
              </a:xfrm>
              <a:prstGeom prst="rect">
                <a:avLst/>
              </a:prstGeom>
              <a:blipFill>
                <a:blip r:embed="rId4"/>
                <a:stretch>
                  <a:fillRect/>
                </a:stretch>
              </a:blipFill>
            </p:spPr>
            <p:txBody>
              <a:bodyPr/>
              <a:lstStyle/>
              <a:p>
                <a:r>
                  <a:rPr lang="de-DE">
                    <a:noFill/>
                  </a:rPr>
                  <a:t> </a:t>
                </a:r>
              </a:p>
            </p:txBody>
          </p:sp>
        </mc:Fallback>
      </mc:AlternateContent>
      <p:cxnSp>
        <p:nvCxnSpPr>
          <p:cNvPr id="19" name="Gerade Verbindung mit Pfeil 18"/>
          <p:cNvCxnSpPr/>
          <p:nvPr/>
        </p:nvCxnSpPr>
        <p:spPr>
          <a:xfrm flipH="1">
            <a:off x="4062694" y="2632559"/>
            <a:ext cx="83319" cy="142014"/>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1" name="Rechteck 20"/>
              <p:cNvSpPr/>
              <p:nvPr/>
            </p:nvSpPr>
            <p:spPr>
              <a:xfrm>
                <a:off x="3755636" y="2870587"/>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𝑷</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21" name="Rechteck 20"/>
              <p:cNvSpPr>
                <a:spLocks noRot="1" noChangeAspect="1" noMove="1" noResize="1" noEditPoints="1" noAdjustHandles="1" noChangeArrowheads="1" noChangeShapeType="1" noTextEdit="1"/>
              </p:cNvSpPr>
              <p:nvPr/>
            </p:nvSpPr>
            <p:spPr>
              <a:xfrm>
                <a:off x="3755636" y="2870587"/>
                <a:ext cx="1371914" cy="349391"/>
              </a:xfrm>
              <a:prstGeom prst="rect">
                <a:avLst/>
              </a:prstGeom>
              <a:blipFill>
                <a:blip r:embed="rId5"/>
                <a:stretch>
                  <a:fillRect/>
                </a:stretch>
              </a:blipFill>
            </p:spPr>
            <p:txBody>
              <a:bodyPr/>
              <a:lstStyle/>
              <a:p>
                <a:r>
                  <a:rPr lang="de-DE">
                    <a:noFill/>
                  </a:rPr>
                  <a:t> </a:t>
                </a:r>
              </a:p>
            </p:txBody>
          </p:sp>
        </mc:Fallback>
      </mc:AlternateContent>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578868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endParaRPr lang="de-DE"/>
          </a:p>
        </p:txBody>
      </p:sp>
      <p:sp>
        <p:nvSpPr>
          <p:cNvPr id="3" name="Titel 2"/>
          <p:cNvSpPr>
            <a:spLocks noGrp="1"/>
          </p:cNvSpPr>
          <p:nvPr>
            <p:ph type="title"/>
          </p:nvPr>
        </p:nvSpPr>
        <p:spPr/>
        <p:txBody>
          <a:bodyPr/>
          <a:lstStyle/>
          <a:p>
            <a:r>
              <a:rPr lang="de-DE" dirty="0" smtClean="0"/>
              <a:t>3. </a:t>
            </a:r>
            <a:r>
              <a:rPr lang="de-DE" dirty="0" err="1" smtClean="0"/>
              <a:t>Collect</a:t>
            </a:r>
            <a:r>
              <a:rPr lang="de-DE" dirty="0" smtClean="0"/>
              <a:t> Neutral </a:t>
            </a:r>
            <a:r>
              <a:rPr lang="de-DE" dirty="0" err="1" smtClean="0"/>
              <a:t>Particles</a:t>
            </a:r>
            <a:r>
              <a:rPr lang="de-DE" dirty="0"/>
              <a:t> – </a:t>
            </a:r>
            <a:r>
              <a:rPr lang="de-DE" dirty="0" err="1" smtClean="0"/>
              <a:t>Aim</a:t>
            </a:r>
            <a:r>
              <a:rPr lang="de-DE" dirty="0" smtClean="0"/>
              <a:t> </a:t>
            </a:r>
            <a:r>
              <a:rPr lang="de-DE" dirty="0" err="1" smtClean="0"/>
              <a:t>for</a:t>
            </a:r>
            <a:r>
              <a:rPr lang="de-DE" dirty="0" smtClean="0"/>
              <a:t> 100</a:t>
            </a:r>
            <a:r>
              <a:rPr lang="de-DE" dirty="0"/>
              <a:t>% </a:t>
            </a:r>
            <a:r>
              <a:rPr lang="de-DE" dirty="0" err="1"/>
              <a:t>indirect</a:t>
            </a:r>
            <a:r>
              <a:rPr lang="de-DE" dirty="0"/>
              <a:t> </a:t>
            </a:r>
            <a:r>
              <a:rPr lang="de-DE" dirty="0" err="1"/>
              <a:t>collection</a:t>
            </a:r>
            <a:endParaRPr lang="de-DE"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6</a:t>
            </a:fld>
            <a:endParaRPr lang="de-DE" dirty="0"/>
          </a:p>
        </p:txBody>
      </p:sp>
      <p:pic>
        <p:nvPicPr>
          <p:cNvPr id="6" name="Grafik 5"/>
          <p:cNvPicPr>
            <a:picLocks noChangeAspect="1"/>
          </p:cNvPicPr>
          <p:nvPr/>
        </p:nvPicPr>
        <p:blipFill rotWithShape="1">
          <a:blip r:embed="rId2">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4" name="Gerade Verbindung mit Pfeil 13"/>
          <p:cNvCxnSpPr/>
          <p:nvPr/>
        </p:nvCxnSpPr>
        <p:spPr>
          <a:xfrm flipH="1">
            <a:off x="2247901" y="2627141"/>
            <a:ext cx="167867" cy="5418"/>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flipH="1" flipV="1">
            <a:off x="2415769" y="2626209"/>
            <a:ext cx="166638" cy="932"/>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6" name="Rechteck 15"/>
              <p:cNvSpPr/>
              <p:nvPr/>
            </p:nvSpPr>
            <p:spPr>
              <a:xfrm>
                <a:off x="2428486" y="2426114"/>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𝑫</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16" name="Rechteck 15"/>
              <p:cNvSpPr>
                <a:spLocks noRot="1" noChangeAspect="1" noMove="1" noResize="1" noEditPoints="1" noAdjustHandles="1" noChangeArrowheads="1" noChangeShapeType="1" noTextEdit="1"/>
              </p:cNvSpPr>
              <p:nvPr/>
            </p:nvSpPr>
            <p:spPr>
              <a:xfrm>
                <a:off x="2428486" y="2426114"/>
                <a:ext cx="1371914" cy="349391"/>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7" name="Rechteck 16"/>
              <p:cNvSpPr/>
              <p:nvPr/>
            </p:nvSpPr>
            <p:spPr>
              <a:xfrm>
                <a:off x="1297812" y="2441354"/>
                <a:ext cx="1020343" cy="34932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a:latin typeface="Cambria Math" panose="02040503050406030204" pitchFamily="18" charset="0"/>
                            </a:rPr>
                            <m:t>𝑷𝑭𝑹</m:t>
                          </m:r>
                        </m:sub>
                      </m:sSub>
                    </m:oMath>
                  </m:oMathPara>
                </a14:m>
                <a:endParaRPr lang="de-DE" dirty="0"/>
              </a:p>
            </p:txBody>
          </p:sp>
        </mc:Choice>
        <mc:Fallback>
          <p:sp>
            <p:nvSpPr>
              <p:cNvPr id="17" name="Rechteck 16"/>
              <p:cNvSpPr>
                <a:spLocks noRot="1" noChangeAspect="1" noMove="1" noResize="1" noEditPoints="1" noAdjustHandles="1" noChangeArrowheads="1" noChangeShapeType="1" noTextEdit="1"/>
              </p:cNvSpPr>
              <p:nvPr/>
            </p:nvSpPr>
            <p:spPr>
              <a:xfrm>
                <a:off x="1297812" y="2441354"/>
                <a:ext cx="1020343" cy="349326"/>
              </a:xfrm>
              <a:prstGeom prst="rect">
                <a:avLst/>
              </a:prstGeom>
              <a:blipFill>
                <a:blip r:embed="rId4"/>
                <a:stretch>
                  <a:fillRect/>
                </a:stretch>
              </a:blipFill>
            </p:spPr>
            <p:txBody>
              <a:bodyPr/>
              <a:lstStyle/>
              <a:p>
                <a:r>
                  <a:rPr lang="de-DE">
                    <a:noFill/>
                  </a:rPr>
                  <a:t> </a:t>
                </a:r>
              </a:p>
            </p:txBody>
          </p:sp>
        </mc:Fallback>
      </mc:AlternateContent>
      <p:cxnSp>
        <p:nvCxnSpPr>
          <p:cNvPr id="19" name="Gerade Verbindung mit Pfeil 18"/>
          <p:cNvCxnSpPr/>
          <p:nvPr/>
        </p:nvCxnSpPr>
        <p:spPr>
          <a:xfrm flipH="1">
            <a:off x="4062694" y="2632559"/>
            <a:ext cx="83319" cy="142014"/>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1" name="Rechteck 20"/>
              <p:cNvSpPr/>
              <p:nvPr/>
            </p:nvSpPr>
            <p:spPr>
              <a:xfrm>
                <a:off x="3755636" y="2870587"/>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𝑷</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21" name="Rechteck 20"/>
              <p:cNvSpPr>
                <a:spLocks noRot="1" noChangeAspect="1" noMove="1" noResize="1" noEditPoints="1" noAdjustHandles="1" noChangeArrowheads="1" noChangeShapeType="1" noTextEdit="1"/>
              </p:cNvSpPr>
              <p:nvPr/>
            </p:nvSpPr>
            <p:spPr>
              <a:xfrm>
                <a:off x="3755636" y="2870587"/>
                <a:ext cx="1371914" cy="349391"/>
              </a:xfrm>
              <a:prstGeom prst="rect">
                <a:avLst/>
              </a:prstGeom>
              <a:blipFill>
                <a:blip r:embed="rId5"/>
                <a:stretch>
                  <a:fillRect/>
                </a:stretch>
              </a:blipFill>
            </p:spPr>
            <p:txBody>
              <a:bodyPr/>
              <a:lstStyle/>
              <a:p>
                <a:r>
                  <a:rPr lang="de-DE">
                    <a:noFill/>
                  </a:rPr>
                  <a:t> </a:t>
                </a:r>
              </a:p>
            </p:txBody>
          </p:sp>
        </mc:Fallback>
      </mc:AlternateContent>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 name="Gerader Verbinder 9"/>
          <p:cNvCxnSpPr/>
          <p:nvPr/>
        </p:nvCxnSpPr>
        <p:spPr>
          <a:xfrm>
            <a:off x="4873841" y="4793942"/>
            <a:ext cx="0" cy="1695757"/>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303146" y="4793942"/>
            <a:ext cx="1480" cy="1561174"/>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ihandform 10"/>
          <p:cNvSpPr/>
          <p:nvPr/>
        </p:nvSpPr>
        <p:spPr>
          <a:xfrm>
            <a:off x="6303146" y="3932808"/>
            <a:ext cx="5903650" cy="2379215"/>
          </a:xfrm>
          <a:custGeom>
            <a:avLst/>
            <a:gdLst>
              <a:gd name="connsiteX0" fmla="*/ 0 w 5903650"/>
              <a:gd name="connsiteY0" fmla="*/ 2379215 h 2379215"/>
              <a:gd name="connsiteX1" fmla="*/ 1207363 w 5903650"/>
              <a:gd name="connsiteY1" fmla="*/ 2166151 h 2379215"/>
              <a:gd name="connsiteX2" fmla="*/ 3080551 w 5903650"/>
              <a:gd name="connsiteY2" fmla="*/ 1642369 h 2379215"/>
              <a:gd name="connsiteX3" fmla="*/ 4793941 w 5903650"/>
              <a:gd name="connsiteY3" fmla="*/ 798990 h 2379215"/>
              <a:gd name="connsiteX4" fmla="*/ 5903650 w 5903650"/>
              <a:gd name="connsiteY4" fmla="*/ 0 h 2379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3650" h="2379215">
                <a:moveTo>
                  <a:pt x="0" y="2379215"/>
                </a:moveTo>
                <a:cubicBezTo>
                  <a:pt x="346969" y="2334087"/>
                  <a:pt x="693938" y="2288959"/>
                  <a:pt x="1207363" y="2166151"/>
                </a:cubicBezTo>
                <a:cubicBezTo>
                  <a:pt x="1720788" y="2043343"/>
                  <a:pt x="2482788" y="1870229"/>
                  <a:pt x="3080551" y="1642369"/>
                </a:cubicBezTo>
                <a:cubicBezTo>
                  <a:pt x="3678314" y="1414509"/>
                  <a:pt x="4323425" y="1072718"/>
                  <a:pt x="4793941" y="798990"/>
                </a:cubicBezTo>
                <a:cubicBezTo>
                  <a:pt x="5264457" y="525262"/>
                  <a:pt x="5584053" y="262631"/>
                  <a:pt x="590365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19"/>
          <p:cNvSpPr/>
          <p:nvPr/>
        </p:nvSpPr>
        <p:spPr>
          <a:xfrm>
            <a:off x="8878" y="4864963"/>
            <a:ext cx="4847207" cy="1618657"/>
          </a:xfrm>
          <a:custGeom>
            <a:avLst/>
            <a:gdLst>
              <a:gd name="connsiteX0" fmla="*/ 4847207 w 4847207"/>
              <a:gd name="connsiteY0" fmla="*/ 1597981 h 1618657"/>
              <a:gd name="connsiteX1" fmla="*/ 3835153 w 4847207"/>
              <a:gd name="connsiteY1" fmla="*/ 1589103 h 1618657"/>
              <a:gd name="connsiteX2" fmla="*/ 2219417 w 4847207"/>
              <a:gd name="connsiteY2" fmla="*/ 1313895 h 1618657"/>
              <a:gd name="connsiteX3" fmla="*/ 1074198 w 4847207"/>
              <a:gd name="connsiteY3" fmla="*/ 825623 h 1618657"/>
              <a:gd name="connsiteX4" fmla="*/ 0 w 4847207"/>
              <a:gd name="connsiteY4" fmla="*/ 0 h 16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207" h="1618657">
                <a:moveTo>
                  <a:pt x="4847207" y="1597981"/>
                </a:moveTo>
                <a:cubicBezTo>
                  <a:pt x="4560162" y="1617216"/>
                  <a:pt x="4273118" y="1636451"/>
                  <a:pt x="3835153" y="1589103"/>
                </a:cubicBezTo>
                <a:cubicBezTo>
                  <a:pt x="3397188" y="1541755"/>
                  <a:pt x="2679576" y="1441142"/>
                  <a:pt x="2219417" y="1313895"/>
                </a:cubicBezTo>
                <a:cubicBezTo>
                  <a:pt x="1759258" y="1186648"/>
                  <a:pt x="1444101" y="1044605"/>
                  <a:pt x="1074198" y="825623"/>
                </a:cubicBezTo>
                <a:cubicBezTo>
                  <a:pt x="704295" y="606641"/>
                  <a:pt x="352147" y="303320"/>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p:cNvSpPr/>
          <p:nvPr/>
        </p:nvSpPr>
        <p:spPr>
          <a:xfrm>
            <a:off x="4915559" y="5457877"/>
            <a:ext cx="562554"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 d</a:t>
            </a:r>
            <a:endParaRPr lang="de-DE" sz="1300" b="1" dirty="0" smtClean="0"/>
          </a:p>
        </p:txBody>
      </p:sp>
      <p:sp>
        <p:nvSpPr>
          <p:cNvPr id="24" name="Rechteck 23"/>
          <p:cNvSpPr/>
          <p:nvPr/>
        </p:nvSpPr>
        <p:spPr>
          <a:xfrm>
            <a:off x="5696791" y="5432724"/>
            <a:ext cx="596619"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d</a:t>
            </a:r>
          </a:p>
        </p:txBody>
      </p:sp>
      <mc:AlternateContent xmlns:mc="http://schemas.openxmlformats.org/markup-compatibility/2006">
        <mc:Choice xmlns:a14="http://schemas.microsoft.com/office/drawing/2010/main" Requires="a14">
          <p:sp>
            <p:nvSpPr>
              <p:cNvPr id="25" name="Textfeld 24"/>
              <p:cNvSpPr txBox="1"/>
              <p:nvPr/>
            </p:nvSpPr>
            <p:spPr>
              <a:xfrm>
                <a:off x="6475195" y="5574927"/>
                <a:ext cx="87434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b="1" i="1" smtClean="0">
                          <a:solidFill>
                            <a:schemeClr val="tx1"/>
                          </a:solidFill>
                          <a:latin typeface="Cambria Math" panose="02040503050406030204" pitchFamily="18" charset="0"/>
                        </a:rPr>
                        <m:t>𝑲𝒏</m:t>
                      </m:r>
                      <m:r>
                        <a:rPr lang="de-DE" sz="1600" b="1" i="1" smtClean="0">
                          <a:solidFill>
                            <a:schemeClr val="tx1"/>
                          </a:solidFill>
                          <a:latin typeface="Cambria Math" panose="02040503050406030204" pitchFamily="18" charset="0"/>
                        </a:rPr>
                        <m:t>= </m:t>
                      </m:r>
                      <m:f>
                        <m:fPr>
                          <m:ctrlPr>
                            <a:rPr lang="de-DE" sz="1600" b="1" i="1">
                              <a:solidFill>
                                <a:schemeClr val="tx1"/>
                              </a:solidFill>
                              <a:latin typeface="Cambria Math" panose="02040503050406030204" pitchFamily="18" charset="0"/>
                            </a:rPr>
                          </m:ctrlPr>
                        </m:fPr>
                        <m:num>
                          <m:sSub>
                            <m:sSubPr>
                              <m:ctrlPr>
                                <a:rPr lang="de-DE" sz="1600" b="1" i="1" smtClean="0">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𝝀</m:t>
                              </m:r>
                            </m:e>
                            <m:sub>
                              <m:r>
                                <a:rPr lang="de-DE" sz="1600" b="1" i="1" smtClean="0">
                                  <a:solidFill>
                                    <a:schemeClr val="tx1"/>
                                  </a:solidFill>
                                  <a:latin typeface="Cambria Math" panose="02040503050406030204" pitchFamily="18" charset="0"/>
                                </a:rPr>
                                <m:t>𝟎</m:t>
                              </m:r>
                            </m:sub>
                          </m:sSub>
                        </m:num>
                        <m:den>
                          <m:r>
                            <a:rPr lang="de-DE" sz="1600" b="1" i="1">
                              <a:solidFill>
                                <a:schemeClr val="tx1"/>
                              </a:solidFill>
                              <a:latin typeface="Cambria Math" panose="02040503050406030204" pitchFamily="18" charset="0"/>
                            </a:rPr>
                            <m:t>𝒅</m:t>
                          </m:r>
                        </m:den>
                      </m:f>
                    </m:oMath>
                  </m:oMathPara>
                </a14:m>
                <a:endParaRPr lang="de-DE" sz="1600" b="1" dirty="0" err="1">
                  <a:solidFill>
                    <a:schemeClr val="tx1"/>
                  </a:solidFill>
                </a:endParaRPr>
              </a:p>
            </p:txBody>
          </p:sp>
        </mc:Choice>
        <mc:Fallback>
          <p:sp>
            <p:nvSpPr>
              <p:cNvPr id="25" name="Textfeld 24"/>
              <p:cNvSpPr txBox="1">
                <a:spLocks noRot="1" noChangeAspect="1" noMove="1" noResize="1" noEditPoints="1" noAdjustHandles="1" noChangeArrowheads="1" noChangeShapeType="1" noTextEdit="1"/>
              </p:cNvSpPr>
              <p:nvPr/>
            </p:nvSpPr>
            <p:spPr>
              <a:xfrm>
                <a:off x="6475195" y="5574927"/>
                <a:ext cx="874342" cy="294953"/>
              </a:xfrm>
              <a:prstGeom prst="rect">
                <a:avLst/>
              </a:prstGeom>
              <a:blipFill>
                <a:blip r:embed="rId6"/>
                <a:stretch>
                  <a:fillRect l="-4167" t="-47917" r="-694" b="-37500"/>
                </a:stretch>
              </a:blipFill>
            </p:spPr>
            <p:txBody>
              <a:bodyPr/>
              <a:lstStyle/>
              <a:p>
                <a:r>
                  <a:rPr lang="de-DE">
                    <a:noFill/>
                  </a:rPr>
                  <a:t> </a:t>
                </a:r>
              </a:p>
            </p:txBody>
          </p:sp>
        </mc:Fallback>
      </mc:AlternateContent>
      <p:cxnSp>
        <p:nvCxnSpPr>
          <p:cNvPr id="26" name="Gerade Verbindung mit Pfeil 25"/>
          <p:cNvCxnSpPr>
            <a:stCxn id="23" idx="1"/>
            <a:endCxn id="23" idx="3"/>
          </p:cNvCxnSpPr>
          <p:nvPr/>
        </p:nvCxnSpPr>
        <p:spPr>
          <a:xfrm>
            <a:off x="4915559" y="5830137"/>
            <a:ext cx="562554"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5728339" y="5811924"/>
            <a:ext cx="556193"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14192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4. Remove Neutral </a:t>
            </a:r>
            <a:r>
              <a:rPr lang="de-DE" dirty="0" err="1"/>
              <a:t>Particles</a:t>
            </a:r>
            <a:r>
              <a:rPr lang="de-DE" dirty="0"/>
              <a:t> – </a:t>
            </a:r>
            <a:r>
              <a:rPr lang="de-DE" dirty="0" smtClean="0"/>
              <a:t/>
            </a:r>
            <a:br>
              <a:rPr lang="de-DE" dirty="0" smtClean="0"/>
            </a:br>
            <a:r>
              <a:rPr lang="de-DE" sz="2000" dirty="0" err="1" smtClean="0"/>
              <a:t>Continuous</a:t>
            </a:r>
            <a:r>
              <a:rPr lang="de-DE" sz="2000" dirty="0" smtClean="0"/>
              <a:t> </a:t>
            </a:r>
            <a:r>
              <a:rPr lang="de-DE" sz="2000" dirty="0" err="1"/>
              <a:t>flow</a:t>
            </a:r>
            <a:r>
              <a:rPr lang="de-DE" sz="2000" dirty="0"/>
              <a:t> </a:t>
            </a:r>
            <a:r>
              <a:rPr lang="de-DE" sz="2000" dirty="0" err="1"/>
              <a:t>by</a:t>
            </a:r>
            <a:r>
              <a:rPr lang="de-DE" sz="2000" dirty="0"/>
              <a:t> </a:t>
            </a:r>
            <a:r>
              <a:rPr lang="de-DE" sz="2000" dirty="0" err="1"/>
              <a:t>changing</a:t>
            </a:r>
            <a:r>
              <a:rPr lang="de-DE" sz="2000" dirty="0"/>
              <a:t> </a:t>
            </a:r>
            <a:r>
              <a:rPr lang="de-DE" sz="2000" dirty="0" err="1"/>
              <a:t>Pumpgap</a:t>
            </a:r>
            <a:r>
              <a:rPr lang="de-DE" sz="2000" dirty="0"/>
              <a:t> </a:t>
            </a:r>
            <a:r>
              <a:rPr lang="de-DE" sz="2000" dirty="0" err="1" smtClean="0"/>
              <a:t>width</a:t>
            </a:r>
            <a:r>
              <a:rPr lang="de-DE" sz="2000" dirty="0" smtClean="0"/>
              <a:t> </a:t>
            </a:r>
            <a:r>
              <a:rPr lang="de-DE" sz="2000" dirty="0" err="1" smtClean="0"/>
              <a:t>or</a:t>
            </a:r>
            <a:r>
              <a:rPr lang="de-DE" sz="2000" dirty="0" smtClean="0"/>
              <a:t> Tesla </a:t>
            </a:r>
            <a:r>
              <a:rPr lang="de-DE" sz="2000" dirty="0" err="1" smtClean="0"/>
              <a:t>valve</a:t>
            </a:r>
            <a:endParaRPr lang="de-DE" sz="2000"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6" name="Grafik 5"/>
          <p:cNvPicPr>
            <a:picLocks noChangeAspect="1"/>
          </p:cNvPicPr>
          <p:nvPr/>
        </p:nvPicPr>
        <p:blipFill rotWithShape="1">
          <a:blip r:embed="rId2">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4" name="Gerade Verbindung mit Pfeil 13"/>
          <p:cNvCxnSpPr/>
          <p:nvPr/>
        </p:nvCxnSpPr>
        <p:spPr>
          <a:xfrm flipH="1">
            <a:off x="2247901" y="2627141"/>
            <a:ext cx="167867" cy="5418"/>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flipH="1" flipV="1">
            <a:off x="2415769" y="2626209"/>
            <a:ext cx="166638" cy="932"/>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6" name="Rechteck 15"/>
              <p:cNvSpPr/>
              <p:nvPr/>
            </p:nvSpPr>
            <p:spPr>
              <a:xfrm>
                <a:off x="2428486" y="2426114"/>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𝑫</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16" name="Rechteck 15"/>
              <p:cNvSpPr>
                <a:spLocks noRot="1" noChangeAspect="1" noMove="1" noResize="1" noEditPoints="1" noAdjustHandles="1" noChangeArrowheads="1" noChangeShapeType="1" noTextEdit="1"/>
              </p:cNvSpPr>
              <p:nvPr/>
            </p:nvSpPr>
            <p:spPr>
              <a:xfrm>
                <a:off x="2428486" y="2426114"/>
                <a:ext cx="1371914" cy="349391"/>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7" name="Rechteck 16"/>
              <p:cNvSpPr/>
              <p:nvPr/>
            </p:nvSpPr>
            <p:spPr>
              <a:xfrm>
                <a:off x="1297812" y="2441354"/>
                <a:ext cx="1020343" cy="34932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a:latin typeface="Cambria Math" panose="02040503050406030204" pitchFamily="18" charset="0"/>
                            </a:rPr>
                            <m:t>𝑷𝑭𝑹</m:t>
                          </m:r>
                        </m:sub>
                      </m:sSub>
                    </m:oMath>
                  </m:oMathPara>
                </a14:m>
                <a:endParaRPr lang="de-DE" dirty="0"/>
              </a:p>
            </p:txBody>
          </p:sp>
        </mc:Choice>
        <mc:Fallback>
          <p:sp>
            <p:nvSpPr>
              <p:cNvPr id="17" name="Rechteck 16"/>
              <p:cNvSpPr>
                <a:spLocks noRot="1" noChangeAspect="1" noMove="1" noResize="1" noEditPoints="1" noAdjustHandles="1" noChangeArrowheads="1" noChangeShapeType="1" noTextEdit="1"/>
              </p:cNvSpPr>
              <p:nvPr/>
            </p:nvSpPr>
            <p:spPr>
              <a:xfrm>
                <a:off x="1297812" y="2441354"/>
                <a:ext cx="1020343" cy="349326"/>
              </a:xfrm>
              <a:prstGeom prst="rect">
                <a:avLst/>
              </a:prstGeom>
              <a:blipFill>
                <a:blip r:embed="rId4"/>
                <a:stretch>
                  <a:fillRect/>
                </a:stretch>
              </a:blipFill>
            </p:spPr>
            <p:txBody>
              <a:bodyPr/>
              <a:lstStyle/>
              <a:p>
                <a:r>
                  <a:rPr lang="de-DE">
                    <a:noFill/>
                  </a:rPr>
                  <a:t> </a:t>
                </a:r>
              </a:p>
            </p:txBody>
          </p:sp>
        </mc:Fallback>
      </mc:AlternateContent>
      <p:cxnSp>
        <p:nvCxnSpPr>
          <p:cNvPr id="19" name="Gerade Verbindung mit Pfeil 18"/>
          <p:cNvCxnSpPr/>
          <p:nvPr/>
        </p:nvCxnSpPr>
        <p:spPr>
          <a:xfrm flipH="1">
            <a:off x="4062694" y="2632559"/>
            <a:ext cx="83319" cy="142014"/>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21" name="Rechteck 20"/>
              <p:cNvSpPr/>
              <p:nvPr/>
            </p:nvSpPr>
            <p:spPr>
              <a:xfrm>
                <a:off x="3755636" y="2870587"/>
                <a:ext cx="1371914" cy="349391"/>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m:rPr>
                          <m:nor/>
                        </m:rPr>
                        <a:rPr lang="de-DE" sz="1600" dirty="0" smtClean="0"/>
                        <m:t>6</m:t>
                      </m:r>
                      <m:r>
                        <m:rPr>
                          <m:nor/>
                        </m:rPr>
                        <a:rPr lang="el-GR" sz="1600" dirty="0" smtClean="0">
                          <a:latin typeface="Arial" panose="020B0604020202020204" pitchFamily="34" charset="0"/>
                          <a:cs typeface="Arial" panose="020B0604020202020204" pitchFamily="34" charset="0"/>
                        </a:rPr>
                        <m:t>σ</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λ</m:t>
                          </m:r>
                        </m:e>
                        <m:sub>
                          <m:r>
                            <a:rPr lang="de-DE" sz="1600" b="1" i="1" smtClean="0">
                              <a:latin typeface="Cambria Math" panose="02040503050406030204" pitchFamily="18" charset="0"/>
                            </a:rPr>
                            <m:t>𝒏</m:t>
                          </m:r>
                          <m:r>
                            <a:rPr lang="de-DE" sz="1600" b="1" i="1" smtClean="0">
                              <a:latin typeface="Cambria Math" panose="02040503050406030204" pitchFamily="18" charset="0"/>
                            </a:rPr>
                            <m:t>,</m:t>
                          </m:r>
                          <m:r>
                            <a:rPr lang="de-DE" sz="1600" b="1" i="1" smtClean="0">
                              <a:latin typeface="Cambria Math" panose="02040503050406030204" pitchFamily="18" charset="0"/>
                            </a:rPr>
                            <m:t>𝑷</m:t>
                          </m:r>
                          <m:r>
                            <a:rPr lang="de-DE" sz="1600" b="1" i="1">
                              <a:latin typeface="Cambria Math" panose="02040503050406030204" pitchFamily="18" charset="0"/>
                            </a:rPr>
                            <m:t>−</m:t>
                          </m:r>
                          <m:r>
                            <a:rPr lang="de-DE" sz="1600" b="1" i="1">
                              <a:latin typeface="Cambria Math" panose="02040503050406030204" pitchFamily="18" charset="0"/>
                            </a:rPr>
                            <m:t>𝑺𝑶𝑳</m:t>
                          </m:r>
                        </m:sub>
                      </m:sSub>
                    </m:oMath>
                  </m:oMathPara>
                </a14:m>
                <a:endParaRPr lang="de-DE" sz="1001" dirty="0">
                  <a:solidFill>
                    <a:srgbClr val="005555"/>
                  </a:solidFill>
                </a:endParaRPr>
              </a:p>
            </p:txBody>
          </p:sp>
        </mc:Choice>
        <mc:Fallback>
          <p:sp>
            <p:nvSpPr>
              <p:cNvPr id="21" name="Rechteck 20"/>
              <p:cNvSpPr>
                <a:spLocks noRot="1" noChangeAspect="1" noMove="1" noResize="1" noEditPoints="1" noAdjustHandles="1" noChangeArrowheads="1" noChangeShapeType="1" noTextEdit="1"/>
              </p:cNvSpPr>
              <p:nvPr/>
            </p:nvSpPr>
            <p:spPr>
              <a:xfrm>
                <a:off x="3755636" y="2870587"/>
                <a:ext cx="1371914" cy="349391"/>
              </a:xfrm>
              <a:prstGeom prst="rect">
                <a:avLst/>
              </a:prstGeom>
              <a:blipFill>
                <a:blip r:embed="rId5"/>
                <a:stretch>
                  <a:fillRect/>
                </a:stretch>
              </a:blipFill>
            </p:spPr>
            <p:txBody>
              <a:bodyPr/>
              <a:lstStyle/>
              <a:p>
                <a:r>
                  <a:rPr lang="de-DE">
                    <a:noFill/>
                  </a:rPr>
                  <a:t> </a:t>
                </a:r>
              </a:p>
            </p:txBody>
          </p:sp>
        </mc:Fallback>
      </mc:AlternateContent>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0" name="Gerader Verbinder 9"/>
          <p:cNvCxnSpPr/>
          <p:nvPr/>
        </p:nvCxnSpPr>
        <p:spPr>
          <a:xfrm>
            <a:off x="4873841" y="4793942"/>
            <a:ext cx="0" cy="1695757"/>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303146" y="4793942"/>
            <a:ext cx="1480" cy="1561174"/>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ihandform 10"/>
          <p:cNvSpPr/>
          <p:nvPr/>
        </p:nvSpPr>
        <p:spPr>
          <a:xfrm>
            <a:off x="6303146" y="3932808"/>
            <a:ext cx="5903650" cy="2379215"/>
          </a:xfrm>
          <a:custGeom>
            <a:avLst/>
            <a:gdLst>
              <a:gd name="connsiteX0" fmla="*/ 0 w 5903650"/>
              <a:gd name="connsiteY0" fmla="*/ 2379215 h 2379215"/>
              <a:gd name="connsiteX1" fmla="*/ 1207363 w 5903650"/>
              <a:gd name="connsiteY1" fmla="*/ 2166151 h 2379215"/>
              <a:gd name="connsiteX2" fmla="*/ 3080551 w 5903650"/>
              <a:gd name="connsiteY2" fmla="*/ 1642369 h 2379215"/>
              <a:gd name="connsiteX3" fmla="*/ 4793941 w 5903650"/>
              <a:gd name="connsiteY3" fmla="*/ 798990 h 2379215"/>
              <a:gd name="connsiteX4" fmla="*/ 5903650 w 5903650"/>
              <a:gd name="connsiteY4" fmla="*/ 0 h 2379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3650" h="2379215">
                <a:moveTo>
                  <a:pt x="0" y="2379215"/>
                </a:moveTo>
                <a:cubicBezTo>
                  <a:pt x="346969" y="2334087"/>
                  <a:pt x="693938" y="2288959"/>
                  <a:pt x="1207363" y="2166151"/>
                </a:cubicBezTo>
                <a:cubicBezTo>
                  <a:pt x="1720788" y="2043343"/>
                  <a:pt x="2482788" y="1870229"/>
                  <a:pt x="3080551" y="1642369"/>
                </a:cubicBezTo>
                <a:cubicBezTo>
                  <a:pt x="3678314" y="1414509"/>
                  <a:pt x="4323425" y="1072718"/>
                  <a:pt x="4793941" y="798990"/>
                </a:cubicBezTo>
                <a:cubicBezTo>
                  <a:pt x="5264457" y="525262"/>
                  <a:pt x="5584053" y="262631"/>
                  <a:pt x="590365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19"/>
          <p:cNvSpPr/>
          <p:nvPr/>
        </p:nvSpPr>
        <p:spPr>
          <a:xfrm>
            <a:off x="8878" y="4864963"/>
            <a:ext cx="4847207" cy="1618657"/>
          </a:xfrm>
          <a:custGeom>
            <a:avLst/>
            <a:gdLst>
              <a:gd name="connsiteX0" fmla="*/ 4847207 w 4847207"/>
              <a:gd name="connsiteY0" fmla="*/ 1597981 h 1618657"/>
              <a:gd name="connsiteX1" fmla="*/ 3835153 w 4847207"/>
              <a:gd name="connsiteY1" fmla="*/ 1589103 h 1618657"/>
              <a:gd name="connsiteX2" fmla="*/ 2219417 w 4847207"/>
              <a:gd name="connsiteY2" fmla="*/ 1313895 h 1618657"/>
              <a:gd name="connsiteX3" fmla="*/ 1074198 w 4847207"/>
              <a:gd name="connsiteY3" fmla="*/ 825623 h 1618657"/>
              <a:gd name="connsiteX4" fmla="*/ 0 w 4847207"/>
              <a:gd name="connsiteY4" fmla="*/ 0 h 16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207" h="1618657">
                <a:moveTo>
                  <a:pt x="4847207" y="1597981"/>
                </a:moveTo>
                <a:cubicBezTo>
                  <a:pt x="4560162" y="1617216"/>
                  <a:pt x="4273118" y="1636451"/>
                  <a:pt x="3835153" y="1589103"/>
                </a:cubicBezTo>
                <a:cubicBezTo>
                  <a:pt x="3397188" y="1541755"/>
                  <a:pt x="2679576" y="1441142"/>
                  <a:pt x="2219417" y="1313895"/>
                </a:cubicBezTo>
                <a:cubicBezTo>
                  <a:pt x="1759258" y="1186648"/>
                  <a:pt x="1444101" y="1044605"/>
                  <a:pt x="1074198" y="825623"/>
                </a:cubicBezTo>
                <a:cubicBezTo>
                  <a:pt x="704295" y="606641"/>
                  <a:pt x="352147" y="303320"/>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p:cNvSpPr/>
          <p:nvPr/>
        </p:nvSpPr>
        <p:spPr>
          <a:xfrm>
            <a:off x="4915559" y="5457877"/>
            <a:ext cx="562554"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 d</a:t>
            </a:r>
            <a:endParaRPr lang="de-DE" sz="1300" b="1" dirty="0" smtClean="0"/>
          </a:p>
        </p:txBody>
      </p:sp>
      <p:sp>
        <p:nvSpPr>
          <p:cNvPr id="24" name="Rechteck 23"/>
          <p:cNvSpPr/>
          <p:nvPr/>
        </p:nvSpPr>
        <p:spPr>
          <a:xfrm>
            <a:off x="5696791" y="5432724"/>
            <a:ext cx="596619"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d</a:t>
            </a:r>
          </a:p>
        </p:txBody>
      </p:sp>
      <mc:AlternateContent xmlns:mc="http://schemas.openxmlformats.org/markup-compatibility/2006">
        <mc:Choice xmlns:a14="http://schemas.microsoft.com/office/drawing/2010/main" Requires="a14">
          <p:sp>
            <p:nvSpPr>
              <p:cNvPr id="25" name="Textfeld 24"/>
              <p:cNvSpPr txBox="1"/>
              <p:nvPr/>
            </p:nvSpPr>
            <p:spPr>
              <a:xfrm>
                <a:off x="6475195" y="5574927"/>
                <a:ext cx="87434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b="1" i="1" smtClean="0">
                          <a:solidFill>
                            <a:schemeClr val="tx1"/>
                          </a:solidFill>
                          <a:latin typeface="Cambria Math" panose="02040503050406030204" pitchFamily="18" charset="0"/>
                        </a:rPr>
                        <m:t>𝑲𝒏</m:t>
                      </m:r>
                      <m:r>
                        <a:rPr lang="de-DE" sz="1600" b="1" i="1" smtClean="0">
                          <a:solidFill>
                            <a:schemeClr val="tx1"/>
                          </a:solidFill>
                          <a:latin typeface="Cambria Math" panose="02040503050406030204" pitchFamily="18" charset="0"/>
                        </a:rPr>
                        <m:t>= </m:t>
                      </m:r>
                      <m:f>
                        <m:fPr>
                          <m:ctrlPr>
                            <a:rPr lang="de-DE" sz="1600" b="1" i="1">
                              <a:solidFill>
                                <a:schemeClr val="tx1"/>
                              </a:solidFill>
                              <a:latin typeface="Cambria Math" panose="02040503050406030204" pitchFamily="18" charset="0"/>
                            </a:rPr>
                          </m:ctrlPr>
                        </m:fPr>
                        <m:num>
                          <m:sSub>
                            <m:sSubPr>
                              <m:ctrlPr>
                                <a:rPr lang="de-DE" sz="1600" b="1" i="1" smtClean="0">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𝝀</m:t>
                              </m:r>
                            </m:e>
                            <m:sub>
                              <m:r>
                                <a:rPr lang="de-DE" sz="1600" b="1" i="1" smtClean="0">
                                  <a:solidFill>
                                    <a:schemeClr val="tx1"/>
                                  </a:solidFill>
                                  <a:latin typeface="Cambria Math" panose="02040503050406030204" pitchFamily="18" charset="0"/>
                                </a:rPr>
                                <m:t>𝟎</m:t>
                              </m:r>
                            </m:sub>
                          </m:sSub>
                        </m:num>
                        <m:den>
                          <m:r>
                            <a:rPr lang="de-DE" sz="1600" b="1" i="1">
                              <a:solidFill>
                                <a:schemeClr val="tx1"/>
                              </a:solidFill>
                              <a:latin typeface="Cambria Math" panose="02040503050406030204" pitchFamily="18" charset="0"/>
                            </a:rPr>
                            <m:t>𝒅</m:t>
                          </m:r>
                        </m:den>
                      </m:f>
                    </m:oMath>
                  </m:oMathPara>
                </a14:m>
                <a:endParaRPr lang="de-DE" sz="1600" b="1" dirty="0" err="1">
                  <a:solidFill>
                    <a:schemeClr val="tx1"/>
                  </a:solidFill>
                </a:endParaRPr>
              </a:p>
            </p:txBody>
          </p:sp>
        </mc:Choice>
        <mc:Fallback>
          <p:sp>
            <p:nvSpPr>
              <p:cNvPr id="25" name="Textfeld 24"/>
              <p:cNvSpPr txBox="1">
                <a:spLocks noRot="1" noChangeAspect="1" noMove="1" noResize="1" noEditPoints="1" noAdjustHandles="1" noChangeArrowheads="1" noChangeShapeType="1" noTextEdit="1"/>
              </p:cNvSpPr>
              <p:nvPr/>
            </p:nvSpPr>
            <p:spPr>
              <a:xfrm>
                <a:off x="6475195" y="5574927"/>
                <a:ext cx="874342" cy="294953"/>
              </a:xfrm>
              <a:prstGeom prst="rect">
                <a:avLst/>
              </a:prstGeom>
              <a:blipFill>
                <a:blip r:embed="rId6"/>
                <a:stretch>
                  <a:fillRect l="-4167" t="-47917" r="-694" b="-37500"/>
                </a:stretch>
              </a:blipFill>
            </p:spPr>
            <p:txBody>
              <a:bodyPr/>
              <a:lstStyle/>
              <a:p>
                <a:r>
                  <a:rPr lang="de-DE">
                    <a:noFill/>
                  </a:rPr>
                  <a:t> </a:t>
                </a:r>
              </a:p>
            </p:txBody>
          </p:sp>
        </mc:Fallback>
      </mc:AlternateContent>
      <p:cxnSp>
        <p:nvCxnSpPr>
          <p:cNvPr id="26" name="Gerade Verbindung mit Pfeil 25"/>
          <p:cNvCxnSpPr>
            <a:stCxn id="23" idx="1"/>
            <a:endCxn id="23" idx="3"/>
          </p:cNvCxnSpPr>
          <p:nvPr/>
        </p:nvCxnSpPr>
        <p:spPr>
          <a:xfrm>
            <a:off x="4915559" y="5830137"/>
            <a:ext cx="562554"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5728339" y="5811924"/>
            <a:ext cx="556193"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Inhaltsplatzhalter 11"/>
          <p:cNvPicPr>
            <a:picLocks noGrp="1" noChangeAspect="1"/>
          </p:cNvPicPr>
          <p:nvPr>
            <p:ph sz="quarter" idx="13"/>
          </p:nvPr>
        </p:nvPicPr>
        <p:blipFill rotWithShape="1">
          <a:blip r:embed="rId7">
            <a:extLst>
              <a:ext uri="{28A0092B-C50C-407E-A947-70E740481C1C}">
                <a14:useLocalDpi xmlns:a14="http://schemas.microsoft.com/office/drawing/2010/main" val="0"/>
              </a:ext>
            </a:extLst>
          </a:blip>
          <a:srcRect l="8195" t="3489" r="57083" b="79980"/>
          <a:stretch/>
        </p:blipFill>
        <p:spPr>
          <a:xfrm rot="5400000">
            <a:off x="4016136" y="5713396"/>
            <a:ext cx="2383045" cy="581463"/>
          </a:xfrm>
        </p:spPr>
      </p:pic>
    </p:spTree>
    <p:extLst>
      <p:ext uri="{BB962C8B-B14F-4D97-AF65-F5344CB8AC3E}">
        <p14:creationId xmlns:p14="http://schemas.microsoft.com/office/powerpoint/2010/main" val="42735502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5. Plug Neutral </a:t>
            </a:r>
            <a:r>
              <a:rPr lang="de-DE" dirty="0" err="1"/>
              <a:t>Particles</a:t>
            </a:r>
            <a:endParaRPr lang="de-DE" sz="2000"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6" name="Grafik 5"/>
          <p:cNvPicPr>
            <a:picLocks noChangeAspect="1"/>
          </p:cNvPicPr>
          <p:nvPr/>
        </p:nvPicPr>
        <p:blipFill rotWithShape="1">
          <a:blip r:embed="rId2">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0" name="Gerader Verbinder 9"/>
          <p:cNvCxnSpPr/>
          <p:nvPr/>
        </p:nvCxnSpPr>
        <p:spPr>
          <a:xfrm>
            <a:off x="4873841" y="4793942"/>
            <a:ext cx="0" cy="1695757"/>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303146" y="4793942"/>
            <a:ext cx="1480" cy="1561174"/>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ihandform 10"/>
          <p:cNvSpPr/>
          <p:nvPr/>
        </p:nvSpPr>
        <p:spPr>
          <a:xfrm>
            <a:off x="6303146" y="3932808"/>
            <a:ext cx="5903650" cy="2379215"/>
          </a:xfrm>
          <a:custGeom>
            <a:avLst/>
            <a:gdLst>
              <a:gd name="connsiteX0" fmla="*/ 0 w 5903650"/>
              <a:gd name="connsiteY0" fmla="*/ 2379215 h 2379215"/>
              <a:gd name="connsiteX1" fmla="*/ 1207363 w 5903650"/>
              <a:gd name="connsiteY1" fmla="*/ 2166151 h 2379215"/>
              <a:gd name="connsiteX2" fmla="*/ 3080551 w 5903650"/>
              <a:gd name="connsiteY2" fmla="*/ 1642369 h 2379215"/>
              <a:gd name="connsiteX3" fmla="*/ 4793941 w 5903650"/>
              <a:gd name="connsiteY3" fmla="*/ 798990 h 2379215"/>
              <a:gd name="connsiteX4" fmla="*/ 5903650 w 5903650"/>
              <a:gd name="connsiteY4" fmla="*/ 0 h 2379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3650" h="2379215">
                <a:moveTo>
                  <a:pt x="0" y="2379215"/>
                </a:moveTo>
                <a:cubicBezTo>
                  <a:pt x="346969" y="2334087"/>
                  <a:pt x="693938" y="2288959"/>
                  <a:pt x="1207363" y="2166151"/>
                </a:cubicBezTo>
                <a:cubicBezTo>
                  <a:pt x="1720788" y="2043343"/>
                  <a:pt x="2482788" y="1870229"/>
                  <a:pt x="3080551" y="1642369"/>
                </a:cubicBezTo>
                <a:cubicBezTo>
                  <a:pt x="3678314" y="1414509"/>
                  <a:pt x="4323425" y="1072718"/>
                  <a:pt x="4793941" y="798990"/>
                </a:cubicBezTo>
                <a:cubicBezTo>
                  <a:pt x="5264457" y="525262"/>
                  <a:pt x="5584053" y="262631"/>
                  <a:pt x="590365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19"/>
          <p:cNvSpPr/>
          <p:nvPr/>
        </p:nvSpPr>
        <p:spPr>
          <a:xfrm>
            <a:off x="8878" y="4864963"/>
            <a:ext cx="4847207" cy="1618657"/>
          </a:xfrm>
          <a:custGeom>
            <a:avLst/>
            <a:gdLst>
              <a:gd name="connsiteX0" fmla="*/ 4847207 w 4847207"/>
              <a:gd name="connsiteY0" fmla="*/ 1597981 h 1618657"/>
              <a:gd name="connsiteX1" fmla="*/ 3835153 w 4847207"/>
              <a:gd name="connsiteY1" fmla="*/ 1589103 h 1618657"/>
              <a:gd name="connsiteX2" fmla="*/ 2219417 w 4847207"/>
              <a:gd name="connsiteY2" fmla="*/ 1313895 h 1618657"/>
              <a:gd name="connsiteX3" fmla="*/ 1074198 w 4847207"/>
              <a:gd name="connsiteY3" fmla="*/ 825623 h 1618657"/>
              <a:gd name="connsiteX4" fmla="*/ 0 w 4847207"/>
              <a:gd name="connsiteY4" fmla="*/ 0 h 16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207" h="1618657">
                <a:moveTo>
                  <a:pt x="4847207" y="1597981"/>
                </a:moveTo>
                <a:cubicBezTo>
                  <a:pt x="4560162" y="1617216"/>
                  <a:pt x="4273118" y="1636451"/>
                  <a:pt x="3835153" y="1589103"/>
                </a:cubicBezTo>
                <a:cubicBezTo>
                  <a:pt x="3397188" y="1541755"/>
                  <a:pt x="2679576" y="1441142"/>
                  <a:pt x="2219417" y="1313895"/>
                </a:cubicBezTo>
                <a:cubicBezTo>
                  <a:pt x="1759258" y="1186648"/>
                  <a:pt x="1444101" y="1044605"/>
                  <a:pt x="1074198" y="825623"/>
                </a:cubicBezTo>
                <a:cubicBezTo>
                  <a:pt x="704295" y="606641"/>
                  <a:pt x="352147" y="303320"/>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p:cNvSpPr/>
          <p:nvPr/>
        </p:nvSpPr>
        <p:spPr>
          <a:xfrm>
            <a:off x="4915559" y="5457877"/>
            <a:ext cx="562554"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 d</a:t>
            </a:r>
            <a:endParaRPr lang="de-DE" sz="1300" b="1" dirty="0" smtClean="0"/>
          </a:p>
        </p:txBody>
      </p:sp>
      <p:sp>
        <p:nvSpPr>
          <p:cNvPr id="24" name="Rechteck 23"/>
          <p:cNvSpPr/>
          <p:nvPr/>
        </p:nvSpPr>
        <p:spPr>
          <a:xfrm>
            <a:off x="5696791" y="5432724"/>
            <a:ext cx="596619"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d</a:t>
            </a:r>
          </a:p>
        </p:txBody>
      </p:sp>
      <mc:AlternateContent xmlns:mc="http://schemas.openxmlformats.org/markup-compatibility/2006">
        <mc:Choice xmlns:a14="http://schemas.microsoft.com/office/drawing/2010/main" Requires="a14">
          <p:sp>
            <p:nvSpPr>
              <p:cNvPr id="25" name="Textfeld 24"/>
              <p:cNvSpPr txBox="1"/>
              <p:nvPr/>
            </p:nvSpPr>
            <p:spPr>
              <a:xfrm>
                <a:off x="6475195" y="5574927"/>
                <a:ext cx="87434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b="1" i="1" smtClean="0">
                          <a:solidFill>
                            <a:schemeClr val="tx1"/>
                          </a:solidFill>
                          <a:latin typeface="Cambria Math" panose="02040503050406030204" pitchFamily="18" charset="0"/>
                        </a:rPr>
                        <m:t>𝑲𝒏</m:t>
                      </m:r>
                      <m:r>
                        <a:rPr lang="de-DE" sz="1600" b="1" i="1" smtClean="0">
                          <a:solidFill>
                            <a:schemeClr val="tx1"/>
                          </a:solidFill>
                          <a:latin typeface="Cambria Math" panose="02040503050406030204" pitchFamily="18" charset="0"/>
                        </a:rPr>
                        <m:t>= </m:t>
                      </m:r>
                      <m:f>
                        <m:fPr>
                          <m:ctrlPr>
                            <a:rPr lang="de-DE" sz="1600" b="1" i="1">
                              <a:solidFill>
                                <a:schemeClr val="tx1"/>
                              </a:solidFill>
                              <a:latin typeface="Cambria Math" panose="02040503050406030204" pitchFamily="18" charset="0"/>
                            </a:rPr>
                          </m:ctrlPr>
                        </m:fPr>
                        <m:num>
                          <m:sSub>
                            <m:sSubPr>
                              <m:ctrlPr>
                                <a:rPr lang="de-DE" sz="1600" b="1" i="1" smtClean="0">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𝝀</m:t>
                              </m:r>
                            </m:e>
                            <m:sub>
                              <m:r>
                                <a:rPr lang="de-DE" sz="1600" b="1" i="1" smtClean="0">
                                  <a:solidFill>
                                    <a:schemeClr val="tx1"/>
                                  </a:solidFill>
                                  <a:latin typeface="Cambria Math" panose="02040503050406030204" pitchFamily="18" charset="0"/>
                                </a:rPr>
                                <m:t>𝟎</m:t>
                              </m:r>
                            </m:sub>
                          </m:sSub>
                        </m:num>
                        <m:den>
                          <m:r>
                            <a:rPr lang="de-DE" sz="1600" b="1" i="1">
                              <a:solidFill>
                                <a:schemeClr val="tx1"/>
                              </a:solidFill>
                              <a:latin typeface="Cambria Math" panose="02040503050406030204" pitchFamily="18" charset="0"/>
                            </a:rPr>
                            <m:t>𝒅</m:t>
                          </m:r>
                        </m:den>
                      </m:f>
                    </m:oMath>
                  </m:oMathPara>
                </a14:m>
                <a:endParaRPr lang="de-DE" sz="1600" b="1" dirty="0" err="1">
                  <a:solidFill>
                    <a:schemeClr val="tx1"/>
                  </a:solidFill>
                </a:endParaRPr>
              </a:p>
            </p:txBody>
          </p:sp>
        </mc:Choice>
        <mc:Fallback>
          <p:sp>
            <p:nvSpPr>
              <p:cNvPr id="25" name="Textfeld 24"/>
              <p:cNvSpPr txBox="1">
                <a:spLocks noRot="1" noChangeAspect="1" noMove="1" noResize="1" noEditPoints="1" noAdjustHandles="1" noChangeArrowheads="1" noChangeShapeType="1" noTextEdit="1"/>
              </p:cNvSpPr>
              <p:nvPr/>
            </p:nvSpPr>
            <p:spPr>
              <a:xfrm>
                <a:off x="6475195" y="5574927"/>
                <a:ext cx="874342" cy="294953"/>
              </a:xfrm>
              <a:prstGeom prst="rect">
                <a:avLst/>
              </a:prstGeom>
              <a:blipFill>
                <a:blip r:embed="rId3"/>
                <a:stretch>
                  <a:fillRect l="-4167" t="-47917" r="-694" b="-37500"/>
                </a:stretch>
              </a:blipFill>
            </p:spPr>
            <p:txBody>
              <a:bodyPr/>
              <a:lstStyle/>
              <a:p>
                <a:r>
                  <a:rPr lang="de-DE">
                    <a:noFill/>
                  </a:rPr>
                  <a:t> </a:t>
                </a:r>
              </a:p>
            </p:txBody>
          </p:sp>
        </mc:Fallback>
      </mc:AlternateContent>
      <p:cxnSp>
        <p:nvCxnSpPr>
          <p:cNvPr id="26" name="Gerade Verbindung mit Pfeil 25"/>
          <p:cNvCxnSpPr>
            <a:stCxn id="23" idx="1"/>
            <a:endCxn id="23" idx="3"/>
          </p:cNvCxnSpPr>
          <p:nvPr/>
        </p:nvCxnSpPr>
        <p:spPr>
          <a:xfrm>
            <a:off x="4915559" y="5830137"/>
            <a:ext cx="562554"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5728339" y="5811924"/>
            <a:ext cx="556193"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Inhaltsplatzhalter 11"/>
          <p:cNvPicPr>
            <a:picLocks noGrp="1" noChangeAspect="1"/>
          </p:cNvPicPr>
          <p:nvPr>
            <p:ph sz="quarter" idx="13"/>
          </p:nvPr>
        </p:nvPicPr>
        <p:blipFill rotWithShape="1">
          <a:blip r:embed="rId4">
            <a:extLst>
              <a:ext uri="{28A0092B-C50C-407E-A947-70E740481C1C}">
                <a14:useLocalDpi xmlns:a14="http://schemas.microsoft.com/office/drawing/2010/main" val="0"/>
              </a:ext>
            </a:extLst>
          </a:blip>
          <a:srcRect l="8195" t="3489" r="57083" b="79980"/>
          <a:stretch/>
        </p:blipFill>
        <p:spPr>
          <a:xfrm rot="5400000">
            <a:off x="4016136" y="5713396"/>
            <a:ext cx="2383045" cy="581463"/>
          </a:xfrm>
        </p:spPr>
      </p:pic>
      <p:sp>
        <p:nvSpPr>
          <p:cNvPr id="28" name="Rechteck 27"/>
          <p:cNvSpPr/>
          <p:nvPr/>
        </p:nvSpPr>
        <p:spPr>
          <a:xfrm rot="1710701">
            <a:off x="2374819" y="3115513"/>
            <a:ext cx="335649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Rechteck 28"/>
          <p:cNvSpPr/>
          <p:nvPr/>
        </p:nvSpPr>
        <p:spPr>
          <a:xfrm rot="20324212">
            <a:off x="5489393" y="3042009"/>
            <a:ext cx="486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Rechteck 29"/>
          <p:cNvSpPr/>
          <p:nvPr/>
        </p:nvSpPr>
        <p:spPr>
          <a:xfrm rot="3992824">
            <a:off x="2284957" y="2844552"/>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Rechteck 30"/>
          <p:cNvSpPr/>
          <p:nvPr/>
        </p:nvSpPr>
        <p:spPr>
          <a:xfrm rot="3992824">
            <a:off x="1723016" y="306175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Rechteck 31"/>
          <p:cNvSpPr/>
          <p:nvPr/>
        </p:nvSpPr>
        <p:spPr>
          <a:xfrm rot="19214977">
            <a:off x="9218395" y="2485731"/>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Rechteck 32"/>
          <p:cNvSpPr/>
          <p:nvPr/>
        </p:nvSpPr>
        <p:spPr>
          <a:xfrm rot="19214977">
            <a:off x="9560482" y="287626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 name="Gerade Verbindung mit Pfeil 6"/>
          <p:cNvCxnSpPr/>
          <p:nvPr/>
        </p:nvCxnSpPr>
        <p:spPr>
          <a:xfrm>
            <a:off x="1866900" y="2724150"/>
            <a:ext cx="419100" cy="1019175"/>
          </a:xfrm>
          <a:prstGeom prst="straightConnector1">
            <a:avLst/>
          </a:prstGeom>
          <a:ln w="19050" cmpd="sng">
            <a:solidFill>
              <a:schemeClr val="tx1"/>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3" name="Rechteck 12"/>
              <p:cNvSpPr/>
              <p:nvPr/>
            </p:nvSpPr>
            <p:spPr>
              <a:xfrm>
                <a:off x="1233952" y="2814910"/>
                <a:ext cx="790536" cy="923330"/>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smtClean="0">
                              <a:solidFill>
                                <a:schemeClr val="tx1"/>
                              </a:solidFill>
                              <a:latin typeface="Cambria Math" panose="02040503050406030204" pitchFamily="18" charset="0"/>
                            </a:rPr>
                          </m:ctrlPr>
                        </m:sSubPr>
                        <m:e>
                          <m:r>
                            <m:rPr>
                              <m:sty m:val="p"/>
                            </m:rPr>
                            <a:rPr lang="el-GR" i="1">
                              <a:solidFill>
                                <a:schemeClr val="tx1"/>
                              </a:solidFill>
                              <a:latin typeface="Cambria Math" panose="02040503050406030204" pitchFamily="18" charset="0"/>
                            </a:rPr>
                            <m:t>λ</m:t>
                          </m:r>
                        </m:e>
                        <m:sub>
                          <m:r>
                            <a:rPr lang="de-DE" b="1" i="1">
                              <a:solidFill>
                                <a:schemeClr val="tx1"/>
                              </a:solidFill>
                              <a:latin typeface="Cambria Math" panose="02040503050406030204" pitchFamily="18" charset="0"/>
                            </a:rPr>
                            <m:t>𝟎</m:t>
                          </m:r>
                        </m:sub>
                      </m:sSub>
                    </m:oMath>
                  </m:oMathPara>
                </a14:m>
                <a:endParaRPr lang="de-DE" dirty="0" smtClean="0"/>
              </a:p>
              <a:p>
                <a:pPr algn="ctr"/>
                <a:r>
                  <a:rPr lang="de-DE" dirty="0" err="1" smtClean="0"/>
                  <a:t>or</a:t>
                </a:r>
                <a:endParaRPr lang="de-DE" dirty="0" smtClean="0"/>
              </a:p>
              <a:p>
                <a:pPr algn="ctr"/>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a:latin typeface="Cambria Math" panose="02040503050406030204" pitchFamily="18" charset="0"/>
                            </a:rPr>
                          </m:ctrlPr>
                        </m:sSubPr>
                        <m:e>
                          <m:r>
                            <m:rPr>
                              <m:sty m:val="p"/>
                            </m:rPr>
                            <a:rPr lang="el-GR" i="1">
                              <a:latin typeface="Cambria Math" panose="02040503050406030204" pitchFamily="18" charset="0"/>
                            </a:rPr>
                            <m:t>λ</m:t>
                          </m:r>
                        </m:e>
                        <m:sub>
                          <m:r>
                            <a:rPr lang="de-DE" b="1" i="1">
                              <a:latin typeface="Cambria Math" panose="02040503050406030204" pitchFamily="18" charset="0"/>
                            </a:rPr>
                            <m:t>𝒊𝒛</m:t>
                          </m:r>
                        </m:sub>
                      </m:sSub>
                    </m:oMath>
                  </m:oMathPara>
                </a14:m>
                <a:endParaRPr lang="de-DE" dirty="0"/>
              </a:p>
            </p:txBody>
          </p:sp>
        </mc:Choice>
        <mc:Fallback>
          <p:sp>
            <p:nvSpPr>
              <p:cNvPr id="13" name="Rechteck 12"/>
              <p:cNvSpPr>
                <a:spLocks noRot="1" noChangeAspect="1" noMove="1" noResize="1" noEditPoints="1" noAdjustHandles="1" noChangeArrowheads="1" noChangeShapeType="1" noTextEdit="1"/>
              </p:cNvSpPr>
              <p:nvPr/>
            </p:nvSpPr>
            <p:spPr>
              <a:xfrm>
                <a:off x="1233952" y="2814910"/>
                <a:ext cx="790536" cy="923330"/>
              </a:xfrm>
              <a:prstGeom prst="rect">
                <a:avLst/>
              </a:prstGeom>
              <a:blipFill>
                <a:blip r:embed="rId5"/>
                <a:stretch>
                  <a:fillRect/>
                </a:stretch>
              </a:blipFill>
            </p:spPr>
            <p:txBody>
              <a:bodyPr/>
              <a:lstStyle/>
              <a:p>
                <a:r>
                  <a:rPr lang="de-DE">
                    <a:noFill/>
                  </a:rPr>
                  <a:t> </a:t>
                </a:r>
              </a:p>
            </p:txBody>
          </p:sp>
        </mc:Fallback>
      </mc:AlternateContent>
      <p:sp>
        <p:nvSpPr>
          <p:cNvPr id="36" name="Ellipse 35"/>
          <p:cNvSpPr/>
          <p:nvPr/>
        </p:nvSpPr>
        <p:spPr>
          <a:xfrm rot="3912935">
            <a:off x="1837613" y="2934935"/>
            <a:ext cx="1535523" cy="386605"/>
          </a:xfrm>
          <a:prstGeom prst="ellipse">
            <a:avLst/>
          </a:prstGeom>
          <a:solidFill>
            <a:srgbClr val="C0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Ionization</a:t>
            </a:r>
            <a:endParaRPr lang="de-DE" sz="1300" b="1" dirty="0" smtClean="0">
              <a:solidFill>
                <a:schemeClr val="bg1"/>
              </a:solidFill>
            </a:endParaRPr>
          </a:p>
        </p:txBody>
      </p:sp>
      <p:sp>
        <p:nvSpPr>
          <p:cNvPr id="37" name="Freihandform 36"/>
          <p:cNvSpPr/>
          <p:nvPr/>
        </p:nvSpPr>
        <p:spPr>
          <a:xfrm>
            <a:off x="2533650" y="3629025"/>
            <a:ext cx="2343150" cy="1219200"/>
          </a:xfrm>
          <a:custGeom>
            <a:avLst/>
            <a:gdLst>
              <a:gd name="connsiteX0" fmla="*/ 2343150 w 2343150"/>
              <a:gd name="connsiteY0" fmla="*/ 1219200 h 1219200"/>
              <a:gd name="connsiteX1" fmla="*/ 1428750 w 2343150"/>
              <a:gd name="connsiteY1" fmla="*/ 1038225 h 1219200"/>
              <a:gd name="connsiteX2" fmla="*/ 561975 w 2343150"/>
              <a:gd name="connsiteY2" fmla="*/ 628650 h 1219200"/>
              <a:gd name="connsiteX3" fmla="*/ 0 w 2343150"/>
              <a:gd name="connsiteY3" fmla="*/ 0 h 1219200"/>
            </a:gdLst>
            <a:ahLst/>
            <a:cxnLst>
              <a:cxn ang="0">
                <a:pos x="connsiteX0" y="connsiteY0"/>
              </a:cxn>
              <a:cxn ang="0">
                <a:pos x="connsiteX1" y="connsiteY1"/>
              </a:cxn>
              <a:cxn ang="0">
                <a:pos x="connsiteX2" y="connsiteY2"/>
              </a:cxn>
              <a:cxn ang="0">
                <a:pos x="connsiteX3" y="connsiteY3"/>
              </a:cxn>
            </a:cxnLst>
            <a:rect l="l" t="t" r="r" b="b"/>
            <a:pathLst>
              <a:path w="2343150" h="1219200">
                <a:moveTo>
                  <a:pt x="2343150" y="1219200"/>
                </a:moveTo>
                <a:cubicBezTo>
                  <a:pt x="2034381" y="1177925"/>
                  <a:pt x="1725612" y="1136650"/>
                  <a:pt x="1428750" y="1038225"/>
                </a:cubicBezTo>
                <a:cubicBezTo>
                  <a:pt x="1131887" y="939800"/>
                  <a:pt x="800100" y="801687"/>
                  <a:pt x="561975" y="628650"/>
                </a:cubicBezTo>
                <a:cubicBezTo>
                  <a:pt x="323850" y="455612"/>
                  <a:pt x="161925" y="227806"/>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ihandform 37"/>
          <p:cNvSpPr/>
          <p:nvPr/>
        </p:nvSpPr>
        <p:spPr>
          <a:xfrm>
            <a:off x="6305550" y="3267075"/>
            <a:ext cx="3324225" cy="1514475"/>
          </a:xfrm>
          <a:custGeom>
            <a:avLst/>
            <a:gdLst>
              <a:gd name="connsiteX0" fmla="*/ 0 w 3324225"/>
              <a:gd name="connsiteY0" fmla="*/ 1514475 h 1514475"/>
              <a:gd name="connsiteX1" fmla="*/ 1219200 w 3324225"/>
              <a:gd name="connsiteY1" fmla="*/ 1190625 h 1514475"/>
              <a:gd name="connsiteX2" fmla="*/ 2771775 w 3324225"/>
              <a:gd name="connsiteY2" fmla="*/ 419100 h 1514475"/>
              <a:gd name="connsiteX3" fmla="*/ 3324225 w 3324225"/>
              <a:gd name="connsiteY3" fmla="*/ 0 h 1514475"/>
            </a:gdLst>
            <a:ahLst/>
            <a:cxnLst>
              <a:cxn ang="0">
                <a:pos x="connsiteX0" y="connsiteY0"/>
              </a:cxn>
              <a:cxn ang="0">
                <a:pos x="connsiteX1" y="connsiteY1"/>
              </a:cxn>
              <a:cxn ang="0">
                <a:pos x="connsiteX2" y="connsiteY2"/>
              </a:cxn>
              <a:cxn ang="0">
                <a:pos x="connsiteX3" y="connsiteY3"/>
              </a:cxn>
            </a:cxnLst>
            <a:rect l="l" t="t" r="r" b="b"/>
            <a:pathLst>
              <a:path w="3324225" h="1514475">
                <a:moveTo>
                  <a:pt x="0" y="1514475"/>
                </a:moveTo>
                <a:cubicBezTo>
                  <a:pt x="378619" y="1443831"/>
                  <a:pt x="757238" y="1373187"/>
                  <a:pt x="1219200" y="1190625"/>
                </a:cubicBezTo>
                <a:cubicBezTo>
                  <a:pt x="1681162" y="1008063"/>
                  <a:pt x="2420938" y="617537"/>
                  <a:pt x="2771775" y="419100"/>
                </a:cubicBezTo>
                <a:cubicBezTo>
                  <a:pt x="3122612" y="220663"/>
                  <a:pt x="3223418" y="110331"/>
                  <a:pt x="3324225"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Ellipse 38"/>
          <p:cNvSpPr/>
          <p:nvPr/>
        </p:nvSpPr>
        <p:spPr>
          <a:xfrm rot="1798739">
            <a:off x="2580354" y="3865742"/>
            <a:ext cx="1976655" cy="514207"/>
          </a:xfrm>
          <a:prstGeom prst="ellipse">
            <a:avLst/>
          </a:prstGeom>
          <a:solidFill>
            <a:srgbClr val="00B1EA">
              <a:alpha val="5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100" b="1" dirty="0" err="1" smtClean="0">
                <a:solidFill>
                  <a:schemeClr val="bg1"/>
                </a:solidFill>
              </a:rPr>
              <a:t>Recombination</a:t>
            </a:r>
            <a:endParaRPr lang="de-DE" sz="1100" b="1" dirty="0" smtClean="0">
              <a:solidFill>
                <a:schemeClr val="bg1"/>
              </a:solidFill>
            </a:endParaRPr>
          </a:p>
        </p:txBody>
      </p:sp>
    </p:spTree>
    <p:extLst>
      <p:ext uri="{BB962C8B-B14F-4D97-AF65-F5344CB8AC3E}">
        <p14:creationId xmlns:p14="http://schemas.microsoft.com/office/powerpoint/2010/main" val="25510746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7. </a:t>
            </a:r>
            <a:r>
              <a:rPr lang="de-DE" dirty="0" err="1"/>
              <a:t>Survive</a:t>
            </a:r>
            <a:r>
              <a:rPr lang="de-DE" dirty="0"/>
              <a:t/>
            </a:r>
            <a:br>
              <a:rPr lang="de-DE" dirty="0"/>
            </a:br>
            <a:endParaRPr lang="de-DE" sz="2000" dirty="0"/>
          </a:p>
        </p:txBody>
      </p:sp>
      <p:sp>
        <p:nvSpPr>
          <p:cNvPr id="4" name="Fußzeilenplatzhalter 3"/>
          <p:cNvSpPr>
            <a:spLocks noGrp="1"/>
          </p:cNvSpPr>
          <p:nvPr>
            <p:ph type="ftr" sz="quarter" idx="15"/>
          </p:nvPr>
        </p:nvSpPr>
        <p:spPr/>
        <p:txBody>
          <a:bodyPr/>
          <a:lstStyle/>
          <a:p>
            <a:pPr algn="l">
              <a:tabLst>
                <a:tab pos="9775321" algn="r"/>
                <a:tab pos="10226148" algn="r"/>
              </a:tabLst>
            </a:pPr>
            <a:r>
              <a:rPr lang="de-DE" smtClean="0"/>
              <a:t>Max-Planck-Institut für Plasmaphysik | Thierry Kremeyer | 22.01.24</a:t>
            </a:r>
            <a:endParaRPr lang="de-DE" dirty="0"/>
          </a:p>
        </p:txBody>
      </p:sp>
      <p:sp>
        <p:nvSpPr>
          <p:cNvPr id="5" name="Foliennummernplatzhalter 4"/>
          <p:cNvSpPr>
            <a:spLocks noGrp="1"/>
          </p:cNvSpPr>
          <p:nvPr>
            <p:ph type="sldNum" sz="quarter" idx="16"/>
          </p:nvPr>
        </p:nvSpPr>
        <p:spPr/>
        <p:txBody>
          <a:bodyPr/>
          <a:lstStyle/>
          <a:p>
            <a:fld id="{3B1A4699-952B-42DA-8DC4-38A59B49610C}" type="slidenum">
              <a:rPr lang="de-DE" smtClean="0"/>
              <a:pPr/>
              <a:t>9</a:t>
            </a:fld>
            <a:endParaRPr lang="de-DE" dirty="0"/>
          </a:p>
        </p:txBody>
      </p:sp>
      <p:pic>
        <p:nvPicPr>
          <p:cNvPr id="6" name="Grafik 5"/>
          <p:cNvPicPr>
            <a:picLocks noChangeAspect="1"/>
          </p:cNvPicPr>
          <p:nvPr/>
        </p:nvPicPr>
        <p:blipFill rotWithShape="1">
          <a:blip r:embed="rId2">
            <a:lum bright="70000" contrast="-70000"/>
          </a:blip>
          <a:srcRect l="7043" t="38478" r="59570" b="16644"/>
          <a:stretch/>
        </p:blipFill>
        <p:spPr>
          <a:xfrm>
            <a:off x="0" y="1364343"/>
            <a:ext cx="12211664" cy="5129438"/>
          </a:xfrm>
          <a:prstGeom prst="rect">
            <a:avLst/>
          </a:prstGeom>
        </p:spPr>
      </p:pic>
      <p:sp>
        <p:nvSpPr>
          <p:cNvPr id="8" name="Freihandform 7"/>
          <p:cNvSpPr/>
          <p:nvPr/>
        </p:nvSpPr>
        <p:spPr>
          <a:xfrm>
            <a:off x="2295525" y="1390650"/>
            <a:ext cx="9058275" cy="3309267"/>
          </a:xfrm>
          <a:custGeom>
            <a:avLst/>
            <a:gdLst>
              <a:gd name="connsiteX0" fmla="*/ 0 w 9058275"/>
              <a:gd name="connsiteY0" fmla="*/ 600075 h 3309267"/>
              <a:gd name="connsiteX1" fmla="*/ 66675 w 9058275"/>
              <a:gd name="connsiteY1" fmla="*/ 1057275 h 3309267"/>
              <a:gd name="connsiteX2" fmla="*/ 180975 w 9058275"/>
              <a:gd name="connsiteY2" fmla="*/ 1504950 h 3309267"/>
              <a:gd name="connsiteX3" fmla="*/ 390525 w 9058275"/>
              <a:gd name="connsiteY3" fmla="*/ 2019300 h 3309267"/>
              <a:gd name="connsiteX4" fmla="*/ 771525 w 9058275"/>
              <a:gd name="connsiteY4" fmla="*/ 2543175 h 3309267"/>
              <a:gd name="connsiteX5" fmla="*/ 1619250 w 9058275"/>
              <a:gd name="connsiteY5" fmla="*/ 3019425 h 3309267"/>
              <a:gd name="connsiteX6" fmla="*/ 2524125 w 9058275"/>
              <a:gd name="connsiteY6" fmla="*/ 3238500 h 3309267"/>
              <a:gd name="connsiteX7" fmla="*/ 3448050 w 9058275"/>
              <a:gd name="connsiteY7" fmla="*/ 3295650 h 3309267"/>
              <a:gd name="connsiteX8" fmla="*/ 4762500 w 9058275"/>
              <a:gd name="connsiteY8" fmla="*/ 3009900 h 3309267"/>
              <a:gd name="connsiteX9" fmla="*/ 5972175 w 9058275"/>
              <a:gd name="connsiteY9" fmla="*/ 2514600 h 3309267"/>
              <a:gd name="connsiteX10" fmla="*/ 7010400 w 9058275"/>
              <a:gd name="connsiteY10" fmla="*/ 1847850 h 3309267"/>
              <a:gd name="connsiteX11" fmla="*/ 7829550 w 9058275"/>
              <a:gd name="connsiteY11" fmla="*/ 1162050 h 3309267"/>
              <a:gd name="connsiteX12" fmla="*/ 8486775 w 9058275"/>
              <a:gd name="connsiteY12" fmla="*/ 552450 h 3309267"/>
              <a:gd name="connsiteX13" fmla="*/ 9058275 w 9058275"/>
              <a:gd name="connsiteY13" fmla="*/ 0 h 330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58275" h="3309267">
                <a:moveTo>
                  <a:pt x="0" y="600075"/>
                </a:moveTo>
                <a:cubicBezTo>
                  <a:pt x="18256" y="753269"/>
                  <a:pt x="36513" y="906463"/>
                  <a:pt x="66675" y="1057275"/>
                </a:cubicBezTo>
                <a:cubicBezTo>
                  <a:pt x="96837" y="1208087"/>
                  <a:pt x="127000" y="1344613"/>
                  <a:pt x="180975" y="1504950"/>
                </a:cubicBezTo>
                <a:cubicBezTo>
                  <a:pt x="234950" y="1665287"/>
                  <a:pt x="292100" y="1846262"/>
                  <a:pt x="390525" y="2019300"/>
                </a:cubicBezTo>
                <a:cubicBezTo>
                  <a:pt x="488950" y="2192338"/>
                  <a:pt x="566738" y="2376488"/>
                  <a:pt x="771525" y="2543175"/>
                </a:cubicBezTo>
                <a:cubicBezTo>
                  <a:pt x="976312" y="2709862"/>
                  <a:pt x="1327150" y="2903538"/>
                  <a:pt x="1619250" y="3019425"/>
                </a:cubicBezTo>
                <a:cubicBezTo>
                  <a:pt x="1911350" y="3135312"/>
                  <a:pt x="2219325" y="3192463"/>
                  <a:pt x="2524125" y="3238500"/>
                </a:cubicBezTo>
                <a:cubicBezTo>
                  <a:pt x="2828925" y="3284537"/>
                  <a:pt x="3074988" y="3333750"/>
                  <a:pt x="3448050" y="3295650"/>
                </a:cubicBezTo>
                <a:cubicBezTo>
                  <a:pt x="3821112" y="3257550"/>
                  <a:pt x="4341812" y="3140075"/>
                  <a:pt x="4762500" y="3009900"/>
                </a:cubicBezTo>
                <a:cubicBezTo>
                  <a:pt x="5183188" y="2879725"/>
                  <a:pt x="5597525" y="2708275"/>
                  <a:pt x="5972175" y="2514600"/>
                </a:cubicBezTo>
                <a:cubicBezTo>
                  <a:pt x="6346825" y="2320925"/>
                  <a:pt x="6700838" y="2073275"/>
                  <a:pt x="7010400" y="1847850"/>
                </a:cubicBezTo>
                <a:cubicBezTo>
                  <a:pt x="7319962" y="1622425"/>
                  <a:pt x="7583488" y="1377950"/>
                  <a:pt x="7829550" y="1162050"/>
                </a:cubicBezTo>
                <a:cubicBezTo>
                  <a:pt x="8075613" y="946150"/>
                  <a:pt x="8281988" y="746125"/>
                  <a:pt x="8486775" y="552450"/>
                </a:cubicBezTo>
                <a:cubicBezTo>
                  <a:pt x="8691563" y="358775"/>
                  <a:pt x="8874919" y="179387"/>
                  <a:pt x="9058275" y="0"/>
                </a:cubicBezTo>
              </a:path>
            </a:pathLst>
          </a:custGeom>
          <a:noFill/>
          <a:ln w="254000" cmpd="tri">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 name="Freihandform 8"/>
          <p:cNvSpPr/>
          <p:nvPr/>
        </p:nvSpPr>
        <p:spPr>
          <a:xfrm>
            <a:off x="2286000" y="1428750"/>
            <a:ext cx="8982075" cy="1632868"/>
          </a:xfrm>
          <a:custGeom>
            <a:avLst/>
            <a:gdLst>
              <a:gd name="connsiteX0" fmla="*/ 0 w 8982075"/>
              <a:gd name="connsiteY0" fmla="*/ 609600 h 1632868"/>
              <a:gd name="connsiteX1" fmla="*/ 552450 w 8982075"/>
              <a:gd name="connsiteY1" fmla="*/ 866775 h 1632868"/>
              <a:gd name="connsiteX2" fmla="*/ 1990725 w 8982075"/>
              <a:gd name="connsiteY2" fmla="*/ 1323975 h 1632868"/>
              <a:gd name="connsiteX3" fmla="*/ 2952750 w 8982075"/>
              <a:gd name="connsiteY3" fmla="*/ 1504950 h 1632868"/>
              <a:gd name="connsiteX4" fmla="*/ 4095750 w 8982075"/>
              <a:gd name="connsiteY4" fmla="*/ 1628775 h 1632868"/>
              <a:gd name="connsiteX5" fmla="*/ 5153025 w 8982075"/>
              <a:gd name="connsiteY5" fmla="*/ 1562100 h 1632868"/>
              <a:gd name="connsiteX6" fmla="*/ 6343650 w 8982075"/>
              <a:gd name="connsiteY6" fmla="*/ 1181100 h 1632868"/>
              <a:gd name="connsiteX7" fmla="*/ 7810500 w 8982075"/>
              <a:gd name="connsiteY7" fmla="*/ 561975 h 1632868"/>
              <a:gd name="connsiteX8" fmla="*/ 8982075 w 8982075"/>
              <a:gd name="connsiteY8" fmla="*/ 0 h 163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82075" h="1632868">
                <a:moveTo>
                  <a:pt x="0" y="609600"/>
                </a:moveTo>
                <a:cubicBezTo>
                  <a:pt x="110331" y="678656"/>
                  <a:pt x="220663" y="747713"/>
                  <a:pt x="552450" y="866775"/>
                </a:cubicBezTo>
                <a:cubicBezTo>
                  <a:pt x="884237" y="985837"/>
                  <a:pt x="1590675" y="1217613"/>
                  <a:pt x="1990725" y="1323975"/>
                </a:cubicBezTo>
                <a:cubicBezTo>
                  <a:pt x="2390775" y="1430337"/>
                  <a:pt x="2601913" y="1454150"/>
                  <a:pt x="2952750" y="1504950"/>
                </a:cubicBezTo>
                <a:cubicBezTo>
                  <a:pt x="3303587" y="1555750"/>
                  <a:pt x="3729038" y="1619250"/>
                  <a:pt x="4095750" y="1628775"/>
                </a:cubicBezTo>
                <a:cubicBezTo>
                  <a:pt x="4462462" y="1638300"/>
                  <a:pt x="4778375" y="1636713"/>
                  <a:pt x="5153025" y="1562100"/>
                </a:cubicBezTo>
                <a:cubicBezTo>
                  <a:pt x="5527675" y="1487488"/>
                  <a:pt x="5900738" y="1347787"/>
                  <a:pt x="6343650" y="1181100"/>
                </a:cubicBezTo>
                <a:cubicBezTo>
                  <a:pt x="6786562" y="1014413"/>
                  <a:pt x="7370763" y="758825"/>
                  <a:pt x="7810500" y="561975"/>
                </a:cubicBezTo>
                <a:cubicBezTo>
                  <a:pt x="8250237" y="365125"/>
                  <a:pt x="8616156" y="182562"/>
                  <a:pt x="8982075" y="0"/>
                </a:cubicBezTo>
              </a:path>
            </a:pathLst>
          </a:custGeom>
          <a:noFill/>
          <a:ln w="190500" cmpd="thickThin">
            <a:solidFill>
              <a:srgbClr val="EF7C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0" name="Gerader Verbinder 9"/>
          <p:cNvCxnSpPr/>
          <p:nvPr/>
        </p:nvCxnSpPr>
        <p:spPr>
          <a:xfrm>
            <a:off x="4873841" y="4793942"/>
            <a:ext cx="0" cy="1695757"/>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6303146" y="4793942"/>
            <a:ext cx="1480" cy="1561174"/>
          </a:xfrm>
          <a:prstGeom prst="line">
            <a:avLst/>
          </a:prstGeom>
          <a:ln w="762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ihandform 10"/>
          <p:cNvSpPr/>
          <p:nvPr/>
        </p:nvSpPr>
        <p:spPr>
          <a:xfrm>
            <a:off x="6303146" y="3932808"/>
            <a:ext cx="5903650" cy="2379215"/>
          </a:xfrm>
          <a:custGeom>
            <a:avLst/>
            <a:gdLst>
              <a:gd name="connsiteX0" fmla="*/ 0 w 5903650"/>
              <a:gd name="connsiteY0" fmla="*/ 2379215 h 2379215"/>
              <a:gd name="connsiteX1" fmla="*/ 1207363 w 5903650"/>
              <a:gd name="connsiteY1" fmla="*/ 2166151 h 2379215"/>
              <a:gd name="connsiteX2" fmla="*/ 3080551 w 5903650"/>
              <a:gd name="connsiteY2" fmla="*/ 1642369 h 2379215"/>
              <a:gd name="connsiteX3" fmla="*/ 4793941 w 5903650"/>
              <a:gd name="connsiteY3" fmla="*/ 798990 h 2379215"/>
              <a:gd name="connsiteX4" fmla="*/ 5903650 w 5903650"/>
              <a:gd name="connsiteY4" fmla="*/ 0 h 2379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3650" h="2379215">
                <a:moveTo>
                  <a:pt x="0" y="2379215"/>
                </a:moveTo>
                <a:cubicBezTo>
                  <a:pt x="346969" y="2334087"/>
                  <a:pt x="693938" y="2288959"/>
                  <a:pt x="1207363" y="2166151"/>
                </a:cubicBezTo>
                <a:cubicBezTo>
                  <a:pt x="1720788" y="2043343"/>
                  <a:pt x="2482788" y="1870229"/>
                  <a:pt x="3080551" y="1642369"/>
                </a:cubicBezTo>
                <a:cubicBezTo>
                  <a:pt x="3678314" y="1414509"/>
                  <a:pt x="4323425" y="1072718"/>
                  <a:pt x="4793941" y="798990"/>
                </a:cubicBezTo>
                <a:cubicBezTo>
                  <a:pt x="5264457" y="525262"/>
                  <a:pt x="5584053" y="262631"/>
                  <a:pt x="590365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0" name="Freihandform 19"/>
          <p:cNvSpPr/>
          <p:nvPr/>
        </p:nvSpPr>
        <p:spPr>
          <a:xfrm>
            <a:off x="8878" y="4864963"/>
            <a:ext cx="4847207" cy="1618657"/>
          </a:xfrm>
          <a:custGeom>
            <a:avLst/>
            <a:gdLst>
              <a:gd name="connsiteX0" fmla="*/ 4847207 w 4847207"/>
              <a:gd name="connsiteY0" fmla="*/ 1597981 h 1618657"/>
              <a:gd name="connsiteX1" fmla="*/ 3835153 w 4847207"/>
              <a:gd name="connsiteY1" fmla="*/ 1589103 h 1618657"/>
              <a:gd name="connsiteX2" fmla="*/ 2219417 w 4847207"/>
              <a:gd name="connsiteY2" fmla="*/ 1313895 h 1618657"/>
              <a:gd name="connsiteX3" fmla="*/ 1074198 w 4847207"/>
              <a:gd name="connsiteY3" fmla="*/ 825623 h 1618657"/>
              <a:gd name="connsiteX4" fmla="*/ 0 w 4847207"/>
              <a:gd name="connsiteY4" fmla="*/ 0 h 1618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7207" h="1618657">
                <a:moveTo>
                  <a:pt x="4847207" y="1597981"/>
                </a:moveTo>
                <a:cubicBezTo>
                  <a:pt x="4560162" y="1617216"/>
                  <a:pt x="4273118" y="1636451"/>
                  <a:pt x="3835153" y="1589103"/>
                </a:cubicBezTo>
                <a:cubicBezTo>
                  <a:pt x="3397188" y="1541755"/>
                  <a:pt x="2679576" y="1441142"/>
                  <a:pt x="2219417" y="1313895"/>
                </a:cubicBezTo>
                <a:cubicBezTo>
                  <a:pt x="1759258" y="1186648"/>
                  <a:pt x="1444101" y="1044605"/>
                  <a:pt x="1074198" y="825623"/>
                </a:cubicBezTo>
                <a:cubicBezTo>
                  <a:pt x="704295" y="606641"/>
                  <a:pt x="352147" y="303320"/>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3" name="Rechteck 22"/>
          <p:cNvSpPr/>
          <p:nvPr/>
        </p:nvSpPr>
        <p:spPr>
          <a:xfrm>
            <a:off x="4915559" y="5457877"/>
            <a:ext cx="562554"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 d</a:t>
            </a:r>
            <a:endParaRPr lang="de-DE" sz="1300" b="1" dirty="0" smtClean="0"/>
          </a:p>
        </p:txBody>
      </p:sp>
      <p:sp>
        <p:nvSpPr>
          <p:cNvPr id="24" name="Rechteck 23"/>
          <p:cNvSpPr/>
          <p:nvPr/>
        </p:nvSpPr>
        <p:spPr>
          <a:xfrm>
            <a:off x="5696791" y="5432724"/>
            <a:ext cx="596619" cy="744520"/>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t>d</a:t>
            </a:r>
          </a:p>
        </p:txBody>
      </p:sp>
      <mc:AlternateContent xmlns:mc="http://schemas.openxmlformats.org/markup-compatibility/2006">
        <mc:Choice xmlns:a14="http://schemas.microsoft.com/office/drawing/2010/main" Requires="a14">
          <p:sp>
            <p:nvSpPr>
              <p:cNvPr id="25" name="Textfeld 24"/>
              <p:cNvSpPr txBox="1"/>
              <p:nvPr/>
            </p:nvSpPr>
            <p:spPr>
              <a:xfrm>
                <a:off x="6475195" y="5574927"/>
                <a:ext cx="87434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DE" sz="1600" b="1" i="1" smtClean="0">
                          <a:solidFill>
                            <a:schemeClr val="tx1"/>
                          </a:solidFill>
                          <a:latin typeface="Cambria Math" panose="02040503050406030204" pitchFamily="18" charset="0"/>
                        </a:rPr>
                        <m:t>𝑲𝒏</m:t>
                      </m:r>
                      <m:r>
                        <a:rPr lang="de-DE" sz="1600" b="1" i="1" smtClean="0">
                          <a:solidFill>
                            <a:schemeClr val="tx1"/>
                          </a:solidFill>
                          <a:latin typeface="Cambria Math" panose="02040503050406030204" pitchFamily="18" charset="0"/>
                        </a:rPr>
                        <m:t>= </m:t>
                      </m:r>
                      <m:f>
                        <m:fPr>
                          <m:ctrlPr>
                            <a:rPr lang="de-DE" sz="1600" b="1" i="1">
                              <a:solidFill>
                                <a:schemeClr val="tx1"/>
                              </a:solidFill>
                              <a:latin typeface="Cambria Math" panose="02040503050406030204" pitchFamily="18" charset="0"/>
                            </a:rPr>
                          </m:ctrlPr>
                        </m:fPr>
                        <m:num>
                          <m:sSub>
                            <m:sSubPr>
                              <m:ctrlPr>
                                <a:rPr lang="de-DE" sz="1600" b="1" i="1" smtClean="0">
                                  <a:solidFill>
                                    <a:schemeClr val="tx1"/>
                                  </a:solidFill>
                                  <a:latin typeface="Cambria Math" panose="02040503050406030204" pitchFamily="18" charset="0"/>
                                </a:rPr>
                              </m:ctrlPr>
                            </m:sSubPr>
                            <m:e>
                              <m:r>
                                <a:rPr lang="el-GR" sz="1600" b="1" i="1">
                                  <a:solidFill>
                                    <a:schemeClr val="tx1"/>
                                  </a:solidFill>
                                  <a:latin typeface="Cambria Math" panose="02040503050406030204" pitchFamily="18" charset="0"/>
                                </a:rPr>
                                <m:t>𝝀</m:t>
                              </m:r>
                            </m:e>
                            <m:sub>
                              <m:r>
                                <a:rPr lang="de-DE" sz="1600" b="1" i="1" smtClean="0">
                                  <a:solidFill>
                                    <a:schemeClr val="tx1"/>
                                  </a:solidFill>
                                  <a:latin typeface="Cambria Math" panose="02040503050406030204" pitchFamily="18" charset="0"/>
                                </a:rPr>
                                <m:t>𝟎</m:t>
                              </m:r>
                            </m:sub>
                          </m:sSub>
                        </m:num>
                        <m:den>
                          <m:r>
                            <a:rPr lang="de-DE" sz="1600" b="1" i="1">
                              <a:solidFill>
                                <a:schemeClr val="tx1"/>
                              </a:solidFill>
                              <a:latin typeface="Cambria Math" panose="02040503050406030204" pitchFamily="18" charset="0"/>
                            </a:rPr>
                            <m:t>𝒅</m:t>
                          </m:r>
                        </m:den>
                      </m:f>
                    </m:oMath>
                  </m:oMathPara>
                </a14:m>
                <a:endParaRPr lang="de-DE" sz="1600" b="1" dirty="0" err="1">
                  <a:solidFill>
                    <a:schemeClr val="tx1"/>
                  </a:solidFill>
                </a:endParaRPr>
              </a:p>
            </p:txBody>
          </p:sp>
        </mc:Choice>
        <mc:Fallback>
          <p:sp>
            <p:nvSpPr>
              <p:cNvPr id="25" name="Textfeld 24"/>
              <p:cNvSpPr txBox="1">
                <a:spLocks noRot="1" noChangeAspect="1" noMove="1" noResize="1" noEditPoints="1" noAdjustHandles="1" noChangeArrowheads="1" noChangeShapeType="1" noTextEdit="1"/>
              </p:cNvSpPr>
              <p:nvPr/>
            </p:nvSpPr>
            <p:spPr>
              <a:xfrm>
                <a:off x="6475195" y="5574927"/>
                <a:ext cx="874342" cy="294953"/>
              </a:xfrm>
              <a:prstGeom prst="rect">
                <a:avLst/>
              </a:prstGeom>
              <a:blipFill>
                <a:blip r:embed="rId3"/>
                <a:stretch>
                  <a:fillRect l="-4167" t="-47917" r="-694" b="-37500"/>
                </a:stretch>
              </a:blipFill>
            </p:spPr>
            <p:txBody>
              <a:bodyPr/>
              <a:lstStyle/>
              <a:p>
                <a:r>
                  <a:rPr lang="de-DE">
                    <a:noFill/>
                  </a:rPr>
                  <a:t> </a:t>
                </a:r>
              </a:p>
            </p:txBody>
          </p:sp>
        </mc:Fallback>
      </mc:AlternateContent>
      <p:cxnSp>
        <p:nvCxnSpPr>
          <p:cNvPr id="26" name="Gerade Verbindung mit Pfeil 25"/>
          <p:cNvCxnSpPr>
            <a:stCxn id="23" idx="1"/>
            <a:endCxn id="23" idx="3"/>
          </p:cNvCxnSpPr>
          <p:nvPr/>
        </p:nvCxnSpPr>
        <p:spPr>
          <a:xfrm>
            <a:off x="4915559" y="5830137"/>
            <a:ext cx="562554"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5728339" y="5811924"/>
            <a:ext cx="556193" cy="0"/>
          </a:xfrm>
          <a:prstGeom prst="straightConnector1">
            <a:avLst/>
          </a:prstGeom>
          <a:ln w="19050" cmpd="sng">
            <a:solidFill>
              <a:schemeClr val="tx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2" name="Inhaltsplatzhalter 11"/>
          <p:cNvPicPr>
            <a:picLocks noGrp="1" noChangeAspect="1"/>
          </p:cNvPicPr>
          <p:nvPr>
            <p:ph sz="quarter" idx="13"/>
          </p:nvPr>
        </p:nvPicPr>
        <p:blipFill rotWithShape="1">
          <a:blip r:embed="rId4">
            <a:extLst>
              <a:ext uri="{28A0092B-C50C-407E-A947-70E740481C1C}">
                <a14:useLocalDpi xmlns:a14="http://schemas.microsoft.com/office/drawing/2010/main" val="0"/>
              </a:ext>
            </a:extLst>
          </a:blip>
          <a:srcRect l="8195" t="3489" r="57083" b="79980"/>
          <a:stretch/>
        </p:blipFill>
        <p:spPr>
          <a:xfrm rot="5400000">
            <a:off x="4016136" y="5713396"/>
            <a:ext cx="2383045" cy="581463"/>
          </a:xfrm>
        </p:spPr>
      </p:pic>
      <p:sp>
        <p:nvSpPr>
          <p:cNvPr id="28" name="Rechteck 27"/>
          <p:cNvSpPr/>
          <p:nvPr/>
        </p:nvSpPr>
        <p:spPr>
          <a:xfrm rot="1710701">
            <a:off x="2374819" y="3115513"/>
            <a:ext cx="335649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Rechteck 28"/>
          <p:cNvSpPr/>
          <p:nvPr/>
        </p:nvSpPr>
        <p:spPr>
          <a:xfrm rot="20324212">
            <a:off x="5489393" y="3042009"/>
            <a:ext cx="486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Rechteck 21"/>
          <p:cNvSpPr/>
          <p:nvPr/>
        </p:nvSpPr>
        <p:spPr>
          <a:xfrm>
            <a:off x="5521912" y="3878672"/>
            <a:ext cx="174880" cy="2503078"/>
          </a:xfrm>
          <a:prstGeom prst="rect">
            <a:avLst/>
          </a:prstGeom>
          <a:solidFill>
            <a:srgbClr val="EF7C00"/>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Rechteck 29"/>
          <p:cNvSpPr/>
          <p:nvPr/>
        </p:nvSpPr>
        <p:spPr>
          <a:xfrm rot="3992824">
            <a:off x="2284957" y="2844552"/>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 name="Rechteck 30"/>
          <p:cNvSpPr/>
          <p:nvPr/>
        </p:nvSpPr>
        <p:spPr>
          <a:xfrm rot="3992824">
            <a:off x="1723016" y="306175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 name="Rechteck 31"/>
          <p:cNvSpPr/>
          <p:nvPr/>
        </p:nvSpPr>
        <p:spPr>
          <a:xfrm rot="19214977">
            <a:off x="9218395" y="2485731"/>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 name="Rechteck 32"/>
          <p:cNvSpPr/>
          <p:nvPr/>
        </p:nvSpPr>
        <p:spPr>
          <a:xfrm rot="19214977">
            <a:off x="9560482" y="2876264"/>
            <a:ext cx="1080000" cy="144000"/>
          </a:xfrm>
          <a:prstGeom prst="rect">
            <a:avLst/>
          </a:prstGeom>
          <a:solidFill>
            <a:srgbClr val="006C66"/>
          </a:solidFill>
          <a:ln w="38100" cmpd="sng">
            <a:solidFill>
              <a:srgbClr val="29485D"/>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 name="Gerade Verbindung mit Pfeil 6"/>
          <p:cNvCxnSpPr/>
          <p:nvPr/>
        </p:nvCxnSpPr>
        <p:spPr>
          <a:xfrm>
            <a:off x="1866900" y="2724150"/>
            <a:ext cx="419100" cy="1019175"/>
          </a:xfrm>
          <a:prstGeom prst="straightConnector1">
            <a:avLst/>
          </a:prstGeom>
          <a:ln w="19050" cmpd="sng">
            <a:solidFill>
              <a:schemeClr val="tx1"/>
            </a:solidFill>
            <a:prstDash val="solid"/>
            <a:headEnd type="triangl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3" name="Rechteck 12"/>
              <p:cNvSpPr/>
              <p:nvPr/>
            </p:nvSpPr>
            <p:spPr>
              <a:xfrm>
                <a:off x="1233952" y="2814910"/>
                <a:ext cx="790536" cy="923330"/>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smtClean="0">
                              <a:solidFill>
                                <a:schemeClr val="tx1"/>
                              </a:solidFill>
                              <a:latin typeface="Cambria Math" panose="02040503050406030204" pitchFamily="18" charset="0"/>
                            </a:rPr>
                          </m:ctrlPr>
                        </m:sSubPr>
                        <m:e>
                          <m:r>
                            <m:rPr>
                              <m:sty m:val="p"/>
                            </m:rPr>
                            <a:rPr lang="el-GR" i="1">
                              <a:solidFill>
                                <a:schemeClr val="tx1"/>
                              </a:solidFill>
                              <a:latin typeface="Cambria Math" panose="02040503050406030204" pitchFamily="18" charset="0"/>
                            </a:rPr>
                            <m:t>λ</m:t>
                          </m:r>
                        </m:e>
                        <m:sub>
                          <m:r>
                            <a:rPr lang="de-DE" b="1" i="1">
                              <a:solidFill>
                                <a:schemeClr val="tx1"/>
                              </a:solidFill>
                              <a:latin typeface="Cambria Math" panose="02040503050406030204" pitchFamily="18" charset="0"/>
                            </a:rPr>
                            <m:t>𝟎</m:t>
                          </m:r>
                        </m:sub>
                      </m:sSub>
                    </m:oMath>
                  </m:oMathPara>
                </a14:m>
                <a:endParaRPr lang="de-DE" dirty="0" smtClean="0"/>
              </a:p>
              <a:p>
                <a:pPr algn="ctr"/>
                <a:r>
                  <a:rPr lang="de-DE" dirty="0" err="1" smtClean="0"/>
                  <a:t>or</a:t>
                </a:r>
                <a:endParaRPr lang="de-DE" dirty="0" smtClean="0"/>
              </a:p>
              <a:p>
                <a:pPr algn="ctr"/>
                <a14:m>
                  <m:oMathPara xmlns:m="http://schemas.openxmlformats.org/officeDocument/2006/math">
                    <m:oMathParaPr>
                      <m:jc m:val="centerGroup"/>
                    </m:oMathParaPr>
                    <m:oMath xmlns:m="http://schemas.openxmlformats.org/officeDocument/2006/math">
                      <m:r>
                        <m:rPr>
                          <m:nor/>
                        </m:rPr>
                        <a:rPr lang="de-DE" dirty="0"/>
                        <m:t>6</m:t>
                      </m:r>
                      <m:r>
                        <m:rPr>
                          <m:nor/>
                        </m:rPr>
                        <a:rPr lang="el-GR" dirty="0">
                          <a:latin typeface="Arial" panose="020B0604020202020204" pitchFamily="34" charset="0"/>
                          <a:cs typeface="Arial" panose="020B0604020202020204" pitchFamily="34" charset="0"/>
                        </a:rPr>
                        <m:t>σ</m:t>
                      </m:r>
                      <m:sSub>
                        <m:sSubPr>
                          <m:ctrlPr>
                            <a:rPr lang="de-DE" i="1">
                              <a:latin typeface="Cambria Math" panose="02040503050406030204" pitchFamily="18" charset="0"/>
                            </a:rPr>
                          </m:ctrlPr>
                        </m:sSubPr>
                        <m:e>
                          <m:r>
                            <m:rPr>
                              <m:sty m:val="p"/>
                            </m:rPr>
                            <a:rPr lang="el-GR" i="1">
                              <a:latin typeface="Cambria Math" panose="02040503050406030204" pitchFamily="18" charset="0"/>
                            </a:rPr>
                            <m:t>λ</m:t>
                          </m:r>
                        </m:e>
                        <m:sub>
                          <m:r>
                            <a:rPr lang="de-DE" b="1" i="1">
                              <a:latin typeface="Cambria Math" panose="02040503050406030204" pitchFamily="18" charset="0"/>
                            </a:rPr>
                            <m:t>𝒊𝒛</m:t>
                          </m:r>
                        </m:sub>
                      </m:sSub>
                    </m:oMath>
                  </m:oMathPara>
                </a14:m>
                <a:endParaRPr lang="de-DE" dirty="0"/>
              </a:p>
            </p:txBody>
          </p:sp>
        </mc:Choice>
        <mc:Fallback>
          <p:sp>
            <p:nvSpPr>
              <p:cNvPr id="13" name="Rechteck 12"/>
              <p:cNvSpPr>
                <a:spLocks noRot="1" noChangeAspect="1" noMove="1" noResize="1" noEditPoints="1" noAdjustHandles="1" noChangeArrowheads="1" noChangeShapeType="1" noTextEdit="1"/>
              </p:cNvSpPr>
              <p:nvPr/>
            </p:nvSpPr>
            <p:spPr>
              <a:xfrm>
                <a:off x="1233952" y="2814910"/>
                <a:ext cx="790536" cy="923330"/>
              </a:xfrm>
              <a:prstGeom prst="rect">
                <a:avLst/>
              </a:prstGeom>
              <a:blipFill>
                <a:blip r:embed="rId5"/>
                <a:stretch>
                  <a:fillRect/>
                </a:stretch>
              </a:blipFill>
            </p:spPr>
            <p:txBody>
              <a:bodyPr/>
              <a:lstStyle/>
              <a:p>
                <a:r>
                  <a:rPr lang="de-DE">
                    <a:noFill/>
                  </a:rPr>
                  <a:t> </a:t>
                </a:r>
              </a:p>
            </p:txBody>
          </p:sp>
        </mc:Fallback>
      </mc:AlternateContent>
      <p:sp>
        <p:nvSpPr>
          <p:cNvPr id="36" name="Ellipse 35"/>
          <p:cNvSpPr/>
          <p:nvPr/>
        </p:nvSpPr>
        <p:spPr>
          <a:xfrm rot="811317">
            <a:off x="3136315" y="4261799"/>
            <a:ext cx="2427439" cy="386605"/>
          </a:xfrm>
          <a:prstGeom prst="ellipse">
            <a:avLst/>
          </a:prstGeom>
          <a:solidFill>
            <a:srgbClr val="C00000">
              <a:alpha val="50196"/>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Ionization</a:t>
            </a:r>
            <a:endParaRPr lang="de-DE" sz="1300" b="1" dirty="0" smtClean="0">
              <a:solidFill>
                <a:schemeClr val="bg1"/>
              </a:solidFill>
            </a:endParaRPr>
          </a:p>
        </p:txBody>
      </p:sp>
      <p:sp>
        <p:nvSpPr>
          <p:cNvPr id="37" name="Freihandform 36"/>
          <p:cNvSpPr/>
          <p:nvPr/>
        </p:nvSpPr>
        <p:spPr>
          <a:xfrm>
            <a:off x="2533650" y="3629025"/>
            <a:ext cx="2343150" cy="1219200"/>
          </a:xfrm>
          <a:custGeom>
            <a:avLst/>
            <a:gdLst>
              <a:gd name="connsiteX0" fmla="*/ 2343150 w 2343150"/>
              <a:gd name="connsiteY0" fmla="*/ 1219200 h 1219200"/>
              <a:gd name="connsiteX1" fmla="*/ 1428750 w 2343150"/>
              <a:gd name="connsiteY1" fmla="*/ 1038225 h 1219200"/>
              <a:gd name="connsiteX2" fmla="*/ 561975 w 2343150"/>
              <a:gd name="connsiteY2" fmla="*/ 628650 h 1219200"/>
              <a:gd name="connsiteX3" fmla="*/ 0 w 2343150"/>
              <a:gd name="connsiteY3" fmla="*/ 0 h 1219200"/>
            </a:gdLst>
            <a:ahLst/>
            <a:cxnLst>
              <a:cxn ang="0">
                <a:pos x="connsiteX0" y="connsiteY0"/>
              </a:cxn>
              <a:cxn ang="0">
                <a:pos x="connsiteX1" y="connsiteY1"/>
              </a:cxn>
              <a:cxn ang="0">
                <a:pos x="connsiteX2" y="connsiteY2"/>
              </a:cxn>
              <a:cxn ang="0">
                <a:pos x="connsiteX3" y="connsiteY3"/>
              </a:cxn>
            </a:cxnLst>
            <a:rect l="l" t="t" r="r" b="b"/>
            <a:pathLst>
              <a:path w="2343150" h="1219200">
                <a:moveTo>
                  <a:pt x="2343150" y="1219200"/>
                </a:moveTo>
                <a:cubicBezTo>
                  <a:pt x="2034381" y="1177925"/>
                  <a:pt x="1725612" y="1136650"/>
                  <a:pt x="1428750" y="1038225"/>
                </a:cubicBezTo>
                <a:cubicBezTo>
                  <a:pt x="1131887" y="939800"/>
                  <a:pt x="800100" y="801687"/>
                  <a:pt x="561975" y="628650"/>
                </a:cubicBezTo>
                <a:cubicBezTo>
                  <a:pt x="323850" y="455612"/>
                  <a:pt x="161925" y="227806"/>
                  <a:pt x="0"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Freihandform 37"/>
          <p:cNvSpPr/>
          <p:nvPr/>
        </p:nvSpPr>
        <p:spPr>
          <a:xfrm>
            <a:off x="6305550" y="3267075"/>
            <a:ext cx="3324225" cy="1514475"/>
          </a:xfrm>
          <a:custGeom>
            <a:avLst/>
            <a:gdLst>
              <a:gd name="connsiteX0" fmla="*/ 0 w 3324225"/>
              <a:gd name="connsiteY0" fmla="*/ 1514475 h 1514475"/>
              <a:gd name="connsiteX1" fmla="*/ 1219200 w 3324225"/>
              <a:gd name="connsiteY1" fmla="*/ 1190625 h 1514475"/>
              <a:gd name="connsiteX2" fmla="*/ 2771775 w 3324225"/>
              <a:gd name="connsiteY2" fmla="*/ 419100 h 1514475"/>
              <a:gd name="connsiteX3" fmla="*/ 3324225 w 3324225"/>
              <a:gd name="connsiteY3" fmla="*/ 0 h 1514475"/>
            </a:gdLst>
            <a:ahLst/>
            <a:cxnLst>
              <a:cxn ang="0">
                <a:pos x="connsiteX0" y="connsiteY0"/>
              </a:cxn>
              <a:cxn ang="0">
                <a:pos x="connsiteX1" y="connsiteY1"/>
              </a:cxn>
              <a:cxn ang="0">
                <a:pos x="connsiteX2" y="connsiteY2"/>
              </a:cxn>
              <a:cxn ang="0">
                <a:pos x="connsiteX3" y="connsiteY3"/>
              </a:cxn>
            </a:cxnLst>
            <a:rect l="l" t="t" r="r" b="b"/>
            <a:pathLst>
              <a:path w="3324225" h="1514475">
                <a:moveTo>
                  <a:pt x="0" y="1514475"/>
                </a:moveTo>
                <a:cubicBezTo>
                  <a:pt x="378619" y="1443831"/>
                  <a:pt x="757238" y="1373187"/>
                  <a:pt x="1219200" y="1190625"/>
                </a:cubicBezTo>
                <a:cubicBezTo>
                  <a:pt x="1681162" y="1008063"/>
                  <a:pt x="2420938" y="617537"/>
                  <a:pt x="2771775" y="419100"/>
                </a:cubicBezTo>
                <a:cubicBezTo>
                  <a:pt x="3122612" y="220663"/>
                  <a:pt x="3223418" y="110331"/>
                  <a:pt x="3324225" y="0"/>
                </a:cubicBezTo>
              </a:path>
            </a:pathLst>
          </a:custGeom>
          <a:noFill/>
          <a:ln w="76200" cmpd="sng">
            <a:solidFill>
              <a:srgbClr val="777777"/>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Tree>
    <p:extLst>
      <p:ext uri="{BB962C8B-B14F-4D97-AF65-F5344CB8AC3E}">
        <p14:creationId xmlns:p14="http://schemas.microsoft.com/office/powerpoint/2010/main" val="27453625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2.xml><?xml version="1.0" encoding="utf-8"?>
<a:theme xmlns:a="http://schemas.openxmlformats.org/drawingml/2006/main" name="1_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316</Words>
  <Application>Microsoft Office PowerPoint</Application>
  <PresentationFormat>Breitbild</PresentationFormat>
  <Paragraphs>127</Paragraphs>
  <Slides>11</Slides>
  <Notes>1</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21" baseType="lpstr">
      <vt:lpstr>.SF NS Symbols Regular</vt:lpstr>
      <vt:lpstr>Arial</vt:lpstr>
      <vt:lpstr>Arial Narrow</vt:lpstr>
      <vt:lpstr>Calibri</vt:lpstr>
      <vt:lpstr>Cambria Math</vt:lpstr>
      <vt:lpstr>Symbol</vt:lpstr>
      <vt:lpstr>Wingdings 3</vt:lpstr>
      <vt:lpstr>IPP</vt:lpstr>
      <vt:lpstr>1_IPP</vt:lpstr>
      <vt:lpstr>think-cell Folie</vt:lpstr>
      <vt:lpstr>Fully detached divertor concept</vt:lpstr>
      <vt:lpstr>A priori first principles</vt:lpstr>
      <vt:lpstr>1. Divert Plasma Particles – High iota / Standard / Low iota / High mirror</vt:lpstr>
      <vt:lpstr>1. Divert Plasma Particles – High iota / Standard / Low iota / High mirror</vt:lpstr>
      <vt:lpstr>2. Neutralize Plasma Particles</vt:lpstr>
      <vt:lpstr>3. Collect Neutral Particles – Aim for 100% indirect collection</vt:lpstr>
      <vt:lpstr>4. Remove Neutral Particles –  Continuous flow by changing Pumpgap width or Tesla valve</vt:lpstr>
      <vt:lpstr>5. Plug Neutral Particles</vt:lpstr>
      <vt:lpstr>7. Survive </vt:lpstr>
      <vt:lpstr>7. Survive Ionization front control by D fueling feedback on Langmuir</vt:lpstr>
      <vt:lpstr>Summary  Ionization front control by D fueling feedback on Langmuir</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fueling and neutral penetration at Wendelstein 7-X</dc:title>
  <dc:creator>Thierry Kremeyer</dc:creator>
  <cp:lastModifiedBy>Thierry Kremeyer</cp:lastModifiedBy>
  <cp:revision>787</cp:revision>
  <dcterms:created xsi:type="dcterms:W3CDTF">2022-05-31T12:51:51Z</dcterms:created>
  <dcterms:modified xsi:type="dcterms:W3CDTF">2024-03-27T09:42:24Z</dcterms:modified>
</cp:coreProperties>
</file>